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9" r:id="rId4"/>
  </p:sldMasterIdLst>
  <p:notesMasterIdLst>
    <p:notesMasterId r:id="rId11"/>
  </p:notesMasterIdLst>
  <p:sldIdLst>
    <p:sldId id="2147470352" r:id="rId5"/>
    <p:sldId id="2147471256" r:id="rId6"/>
    <p:sldId id="2147471263" r:id="rId7"/>
    <p:sldId id="2147471264" r:id="rId8"/>
    <p:sldId id="2147471265" r:id="rId9"/>
    <p:sldId id="2147471266" r:id="rId10"/>
  </p:sldIdLst>
  <p:sldSz cx="12192000" cy="6858000"/>
  <p:notesSz cx="7010400" cy="92964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254F513-AE27-2538-7F37-7A6B7977578F}" name="Whit Bernard" initials="WB" userId="Whit Bernard" providerId="None"/>
  <p188:author id="{15213D89-AB4E-D392-41C2-22347C829C7A}" name="Kristen  Richardson" initials="KR" userId="S::kristen@anjipharma.com::f569f7a9-9b7f-4bb2-960c-9dd3bb093387" providerId="AD"/>
  <p188:author id="{C3D142B0-1626-A402-9F44-F39EBFB49FBD}" name="Eshan Vasudeva" initials="EV" userId="S::eshan.vasudeva@populationhp.com::8fd6d2dc-4408-45c9-b9c9-302955e1321f" providerId="AD"/>
  <p188:author id="{8AD606BC-6311-301D-5C2B-C1C2BEB70FAB}" name="Stuart Lopez" initials="" userId="S::stuart.lopez@populationhp.com::e8c0151a-f337-42b8-9c69-49b3be5c85a6" providerId="AD"/>
  <p188:author id="{393715E4-0525-6477-A921-03E58F9B84F3}" name="Venice Luceriaga" initials="VL" userId="S::venice.luceriaga@populationhp.com::839f0d71-ba4e-4d82-ba7c-a286ba33f46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EB3"/>
    <a:srgbClr val="F1A33C"/>
    <a:srgbClr val="FF5900"/>
    <a:srgbClr val="A2E895"/>
    <a:srgbClr val="61BA49"/>
    <a:srgbClr val="008351"/>
    <a:srgbClr val="008352"/>
    <a:srgbClr val="DE5900"/>
    <a:srgbClr val="DE5A00"/>
    <a:srgbClr val="003A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F485654-87A5-432C-89F1-EC067D83E953}" v="26" dt="2023-09-25T12:57:48.9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367" autoAdjust="0"/>
    <p:restoredTop sz="94719"/>
  </p:normalViewPr>
  <p:slideViewPr>
    <p:cSldViewPr snapToGrid="0">
      <p:cViewPr varScale="1">
        <p:scale>
          <a:sx n="108" d="100"/>
          <a:sy n="108" d="100"/>
        </p:scale>
        <p:origin x="548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enice Luceriaga" userId="839f0d71-ba4e-4d82-ba7c-a286ba33f464" providerId="ADAL" clId="{FF485654-87A5-432C-89F1-EC067D83E953}"/>
    <pc:docChg chg="undo custSel modSld">
      <pc:chgData name="Venice Luceriaga" userId="839f0d71-ba4e-4d82-ba7c-a286ba33f464" providerId="ADAL" clId="{FF485654-87A5-432C-89F1-EC067D83E953}" dt="2023-09-25T12:57:48.953" v="363"/>
      <pc:docMkLst>
        <pc:docMk/>
      </pc:docMkLst>
      <pc:sldChg chg="modSp mod">
        <pc:chgData name="Venice Luceriaga" userId="839f0d71-ba4e-4d82-ba7c-a286ba33f464" providerId="ADAL" clId="{FF485654-87A5-432C-89F1-EC067D83E953}" dt="2023-09-25T12:57:47.241" v="362" actId="313"/>
        <pc:sldMkLst>
          <pc:docMk/>
          <pc:sldMk cId="2761103443" sldId="2147471256"/>
        </pc:sldMkLst>
        <pc:graphicFrameChg chg="mod modGraphic">
          <ac:chgData name="Venice Luceriaga" userId="839f0d71-ba4e-4d82-ba7c-a286ba33f464" providerId="ADAL" clId="{FF485654-87A5-432C-89F1-EC067D83E953}" dt="2023-09-25T12:57:47.241" v="362" actId="313"/>
          <ac:graphicFrameMkLst>
            <pc:docMk/>
            <pc:sldMk cId="2761103443" sldId="2147471256"/>
            <ac:graphicFrameMk id="8" creationId="{E8AC67C0-D840-6867-AB45-D89C62DBA23D}"/>
          </ac:graphicFrameMkLst>
        </pc:graphicFrameChg>
      </pc:sldChg>
      <pc:sldChg chg="modSp mod">
        <pc:chgData name="Venice Luceriaga" userId="839f0d71-ba4e-4d82-ba7c-a286ba33f464" providerId="ADAL" clId="{FF485654-87A5-432C-89F1-EC067D83E953}" dt="2023-09-25T12:57:48.953" v="363"/>
        <pc:sldMkLst>
          <pc:docMk/>
          <pc:sldMk cId="1030630126" sldId="2147471263"/>
        </pc:sldMkLst>
        <pc:graphicFrameChg chg="mod modGraphic">
          <ac:chgData name="Venice Luceriaga" userId="839f0d71-ba4e-4d82-ba7c-a286ba33f464" providerId="ADAL" clId="{FF485654-87A5-432C-89F1-EC067D83E953}" dt="2023-09-25T12:57:48.953" v="363"/>
          <ac:graphicFrameMkLst>
            <pc:docMk/>
            <pc:sldMk cId="1030630126" sldId="2147471263"/>
            <ac:graphicFrameMk id="8" creationId="{E8AC67C0-D840-6867-AB45-D89C62DBA23D}"/>
          </ac:graphicFrameMkLst>
        </pc:graphicFrameChg>
      </pc:sldChg>
      <pc:sldChg chg="modSp mod">
        <pc:chgData name="Venice Luceriaga" userId="839f0d71-ba4e-4d82-ba7c-a286ba33f464" providerId="ADAL" clId="{FF485654-87A5-432C-89F1-EC067D83E953}" dt="2023-09-25T12:57:48.953" v="363"/>
        <pc:sldMkLst>
          <pc:docMk/>
          <pc:sldMk cId="3120760399" sldId="2147471264"/>
        </pc:sldMkLst>
        <pc:graphicFrameChg chg="mod modGraphic">
          <ac:chgData name="Venice Luceriaga" userId="839f0d71-ba4e-4d82-ba7c-a286ba33f464" providerId="ADAL" clId="{FF485654-87A5-432C-89F1-EC067D83E953}" dt="2023-09-25T12:57:48.953" v="363"/>
          <ac:graphicFrameMkLst>
            <pc:docMk/>
            <pc:sldMk cId="3120760399" sldId="2147471264"/>
            <ac:graphicFrameMk id="8" creationId="{E8AC67C0-D840-6867-AB45-D89C62DBA23D}"/>
          </ac:graphicFrameMkLst>
        </pc:graphicFrameChg>
      </pc:sldChg>
      <pc:sldChg chg="modSp mod">
        <pc:chgData name="Venice Luceriaga" userId="839f0d71-ba4e-4d82-ba7c-a286ba33f464" providerId="ADAL" clId="{FF485654-87A5-432C-89F1-EC067D83E953}" dt="2023-09-25T12:57:48.953" v="363"/>
        <pc:sldMkLst>
          <pc:docMk/>
          <pc:sldMk cId="2427208528" sldId="2147471265"/>
        </pc:sldMkLst>
        <pc:graphicFrameChg chg="mod modGraphic">
          <ac:chgData name="Venice Luceriaga" userId="839f0d71-ba4e-4d82-ba7c-a286ba33f464" providerId="ADAL" clId="{FF485654-87A5-432C-89F1-EC067D83E953}" dt="2023-09-25T12:57:48.953" v="363"/>
          <ac:graphicFrameMkLst>
            <pc:docMk/>
            <pc:sldMk cId="2427208528" sldId="2147471265"/>
            <ac:graphicFrameMk id="8" creationId="{E8AC67C0-D840-6867-AB45-D89C62DBA23D}"/>
          </ac:graphicFrameMkLst>
        </pc:graphicFrameChg>
      </pc:sldChg>
      <pc:sldChg chg="modSp mod">
        <pc:chgData name="Venice Luceriaga" userId="839f0d71-ba4e-4d82-ba7c-a286ba33f464" providerId="ADAL" clId="{FF485654-87A5-432C-89F1-EC067D83E953}" dt="2023-09-25T12:57:48.953" v="363"/>
        <pc:sldMkLst>
          <pc:docMk/>
          <pc:sldMk cId="4105040733" sldId="2147471266"/>
        </pc:sldMkLst>
        <pc:graphicFrameChg chg="mod modGraphic">
          <ac:chgData name="Venice Luceriaga" userId="839f0d71-ba4e-4d82-ba7c-a286ba33f464" providerId="ADAL" clId="{FF485654-87A5-432C-89F1-EC067D83E953}" dt="2023-09-25T12:57:48.953" v="363"/>
          <ac:graphicFrameMkLst>
            <pc:docMk/>
            <pc:sldMk cId="4105040733" sldId="2147471266"/>
            <ac:graphicFrameMk id="8" creationId="{E8AC67C0-D840-6867-AB45-D89C62DBA23D}"/>
          </ac:graphicFrameMkLst>
        </pc:graphicFrameChg>
      </pc:sldChg>
    </pc:docChg>
  </pc:docChgLst>
  <pc:docChgLst>
    <pc:chgData name="Stuart Lopez" userId="e8c0151a-f337-42b8-9c69-49b3be5c85a6" providerId="ADAL" clId="{7240E90C-1ED7-0848-B468-9AFF0C3D14A2}"/>
    <pc:docChg chg="delSld modSld">
      <pc:chgData name="Stuart Lopez" userId="e8c0151a-f337-42b8-9c69-49b3be5c85a6" providerId="ADAL" clId="{7240E90C-1ED7-0848-B468-9AFF0C3D14A2}" dt="2023-09-15T19:19:14.131" v="29" actId="2696"/>
      <pc:docMkLst>
        <pc:docMk/>
      </pc:docMkLst>
      <pc:sldChg chg="del">
        <pc:chgData name="Stuart Lopez" userId="e8c0151a-f337-42b8-9c69-49b3be5c85a6" providerId="ADAL" clId="{7240E90C-1ED7-0848-B468-9AFF0C3D14A2}" dt="2023-09-15T19:19:14.131" v="29" actId="2696"/>
        <pc:sldMkLst>
          <pc:docMk/>
          <pc:sldMk cId="1728346339" sldId="2147471239"/>
        </pc:sldMkLst>
      </pc:sldChg>
      <pc:sldChg chg="del">
        <pc:chgData name="Stuart Lopez" userId="e8c0151a-f337-42b8-9c69-49b3be5c85a6" providerId="ADAL" clId="{7240E90C-1ED7-0848-B468-9AFF0C3D14A2}" dt="2023-09-15T19:19:13.919" v="25" actId="2696"/>
        <pc:sldMkLst>
          <pc:docMk/>
          <pc:sldMk cId="846049817" sldId="2147471240"/>
        </pc:sldMkLst>
      </pc:sldChg>
      <pc:sldChg chg="del">
        <pc:chgData name="Stuart Lopez" userId="e8c0151a-f337-42b8-9c69-49b3be5c85a6" providerId="ADAL" clId="{7240E90C-1ED7-0848-B468-9AFF0C3D14A2}" dt="2023-09-15T19:19:13.992" v="27" actId="2696"/>
        <pc:sldMkLst>
          <pc:docMk/>
          <pc:sldMk cId="4285705427" sldId="2147471242"/>
        </pc:sldMkLst>
      </pc:sldChg>
      <pc:sldChg chg="del">
        <pc:chgData name="Stuart Lopez" userId="e8c0151a-f337-42b8-9c69-49b3be5c85a6" providerId="ADAL" clId="{7240E90C-1ED7-0848-B468-9AFF0C3D14A2}" dt="2023-09-15T19:19:13.814" v="21" actId="2696"/>
        <pc:sldMkLst>
          <pc:docMk/>
          <pc:sldMk cId="1491483187" sldId="2147471243"/>
        </pc:sldMkLst>
      </pc:sldChg>
      <pc:sldChg chg="del">
        <pc:chgData name="Stuart Lopez" userId="e8c0151a-f337-42b8-9c69-49b3be5c85a6" providerId="ADAL" clId="{7240E90C-1ED7-0848-B468-9AFF0C3D14A2}" dt="2023-09-15T19:19:13.806" v="20" actId="2696"/>
        <pc:sldMkLst>
          <pc:docMk/>
          <pc:sldMk cId="1006980614" sldId="2147471244"/>
        </pc:sldMkLst>
      </pc:sldChg>
      <pc:sldChg chg="modSp mod">
        <pc:chgData name="Stuart Lopez" userId="e8c0151a-f337-42b8-9c69-49b3be5c85a6" providerId="ADAL" clId="{7240E90C-1ED7-0848-B468-9AFF0C3D14A2}" dt="2023-09-15T19:17:51.853" v="19" actId="20577"/>
        <pc:sldMkLst>
          <pc:docMk/>
          <pc:sldMk cId="2761103443" sldId="2147471256"/>
        </pc:sldMkLst>
        <pc:graphicFrameChg chg="modGraphic">
          <ac:chgData name="Stuart Lopez" userId="e8c0151a-f337-42b8-9c69-49b3be5c85a6" providerId="ADAL" clId="{7240E90C-1ED7-0848-B468-9AFF0C3D14A2}" dt="2023-09-15T19:17:51.853" v="19" actId="20577"/>
          <ac:graphicFrameMkLst>
            <pc:docMk/>
            <pc:sldMk cId="2761103443" sldId="2147471256"/>
            <ac:graphicFrameMk id="8" creationId="{E8AC67C0-D840-6867-AB45-D89C62DBA23D}"/>
          </ac:graphicFrameMkLst>
        </pc:graphicFrameChg>
      </pc:sldChg>
      <pc:sldChg chg="del">
        <pc:chgData name="Stuart Lopez" userId="e8c0151a-f337-42b8-9c69-49b3be5c85a6" providerId="ADAL" clId="{7240E90C-1ED7-0848-B468-9AFF0C3D14A2}" dt="2023-09-15T19:19:13.886" v="22" actId="2696"/>
        <pc:sldMkLst>
          <pc:docMk/>
          <pc:sldMk cId="2321518245" sldId="2147471257"/>
        </pc:sldMkLst>
      </pc:sldChg>
      <pc:sldChg chg="del">
        <pc:chgData name="Stuart Lopez" userId="e8c0151a-f337-42b8-9c69-49b3be5c85a6" providerId="ADAL" clId="{7240E90C-1ED7-0848-B468-9AFF0C3D14A2}" dt="2023-09-15T19:19:13.985" v="26" actId="2696"/>
        <pc:sldMkLst>
          <pc:docMk/>
          <pc:sldMk cId="2461465994" sldId="2147471258"/>
        </pc:sldMkLst>
      </pc:sldChg>
      <pc:sldChg chg="del">
        <pc:chgData name="Stuart Lopez" userId="e8c0151a-f337-42b8-9c69-49b3be5c85a6" providerId="ADAL" clId="{7240E90C-1ED7-0848-B468-9AFF0C3D14A2}" dt="2023-09-15T19:19:14.074" v="28" actId="2696"/>
        <pc:sldMkLst>
          <pc:docMk/>
          <pc:sldMk cId="1399111432" sldId="2147471259"/>
        </pc:sldMkLst>
      </pc:sldChg>
      <pc:sldChg chg="del">
        <pc:chgData name="Stuart Lopez" userId="e8c0151a-f337-42b8-9c69-49b3be5c85a6" providerId="ADAL" clId="{7240E90C-1ED7-0848-B468-9AFF0C3D14A2}" dt="2023-09-15T19:19:13.903" v="23" actId="2696"/>
        <pc:sldMkLst>
          <pc:docMk/>
          <pc:sldMk cId="855014597" sldId="2147471260"/>
        </pc:sldMkLst>
      </pc:sldChg>
      <pc:sldChg chg="del">
        <pc:chgData name="Stuart Lopez" userId="e8c0151a-f337-42b8-9c69-49b3be5c85a6" providerId="ADAL" clId="{7240E90C-1ED7-0848-B468-9AFF0C3D14A2}" dt="2023-09-15T19:19:13.912" v="24" actId="2696"/>
        <pc:sldMkLst>
          <pc:docMk/>
          <pc:sldMk cId="194926857" sldId="2147471261"/>
        </pc:sldMkLst>
      </pc:sldChg>
      <pc:sldChg chg="modSp mod">
        <pc:chgData name="Stuart Lopez" userId="e8c0151a-f337-42b8-9c69-49b3be5c85a6" providerId="ADAL" clId="{7240E90C-1ED7-0848-B468-9AFF0C3D14A2}" dt="2023-09-15T19:17:24.617" v="18"/>
        <pc:sldMkLst>
          <pc:docMk/>
          <pc:sldMk cId="1030630126" sldId="2147471263"/>
        </pc:sldMkLst>
        <pc:graphicFrameChg chg="mod modGraphic">
          <ac:chgData name="Stuart Lopez" userId="e8c0151a-f337-42b8-9c69-49b3be5c85a6" providerId="ADAL" clId="{7240E90C-1ED7-0848-B468-9AFF0C3D14A2}" dt="2023-09-15T19:17:24.617" v="18"/>
          <ac:graphicFrameMkLst>
            <pc:docMk/>
            <pc:sldMk cId="1030630126" sldId="2147471263"/>
            <ac:graphicFrameMk id="8" creationId="{E8AC67C0-D840-6867-AB45-D89C62DBA23D}"/>
          </ac:graphicFrameMkLst>
        </pc:graphicFrameChg>
      </pc:sldChg>
      <pc:sldChg chg="modSp">
        <pc:chgData name="Stuart Lopez" userId="e8c0151a-f337-42b8-9c69-49b3be5c85a6" providerId="ADAL" clId="{7240E90C-1ED7-0848-B468-9AFF0C3D14A2}" dt="2023-09-15T19:16:24.366" v="15"/>
        <pc:sldMkLst>
          <pc:docMk/>
          <pc:sldMk cId="3120760399" sldId="2147471264"/>
        </pc:sldMkLst>
        <pc:graphicFrameChg chg="mod">
          <ac:chgData name="Stuart Lopez" userId="e8c0151a-f337-42b8-9c69-49b3be5c85a6" providerId="ADAL" clId="{7240E90C-1ED7-0848-B468-9AFF0C3D14A2}" dt="2023-09-15T19:16:24.366" v="15"/>
          <ac:graphicFrameMkLst>
            <pc:docMk/>
            <pc:sldMk cId="3120760399" sldId="2147471264"/>
            <ac:graphicFrameMk id="8" creationId="{E8AC67C0-D840-6867-AB45-D89C62DBA23D}"/>
          </ac:graphicFrameMkLst>
        </pc:graphicFrameChg>
      </pc:sldChg>
      <pc:sldChg chg="modSp">
        <pc:chgData name="Stuart Lopez" userId="e8c0151a-f337-42b8-9c69-49b3be5c85a6" providerId="ADAL" clId="{7240E90C-1ED7-0848-B468-9AFF0C3D14A2}" dt="2023-09-15T19:16:28.376" v="16"/>
        <pc:sldMkLst>
          <pc:docMk/>
          <pc:sldMk cId="2427208528" sldId="2147471265"/>
        </pc:sldMkLst>
        <pc:graphicFrameChg chg="mod">
          <ac:chgData name="Stuart Lopez" userId="e8c0151a-f337-42b8-9c69-49b3be5c85a6" providerId="ADAL" clId="{7240E90C-1ED7-0848-B468-9AFF0C3D14A2}" dt="2023-09-15T19:16:28.376" v="16"/>
          <ac:graphicFrameMkLst>
            <pc:docMk/>
            <pc:sldMk cId="2427208528" sldId="2147471265"/>
            <ac:graphicFrameMk id="8" creationId="{E8AC67C0-D840-6867-AB45-D89C62DBA23D}"/>
          </ac:graphicFrameMkLst>
        </pc:graphicFrameChg>
      </pc:sldChg>
      <pc:sldChg chg="modSp">
        <pc:chgData name="Stuart Lopez" userId="e8c0151a-f337-42b8-9c69-49b3be5c85a6" providerId="ADAL" clId="{7240E90C-1ED7-0848-B468-9AFF0C3D14A2}" dt="2023-09-15T19:16:32.176" v="17"/>
        <pc:sldMkLst>
          <pc:docMk/>
          <pc:sldMk cId="4105040733" sldId="2147471266"/>
        </pc:sldMkLst>
        <pc:graphicFrameChg chg="mod">
          <ac:chgData name="Stuart Lopez" userId="e8c0151a-f337-42b8-9c69-49b3be5c85a6" providerId="ADAL" clId="{7240E90C-1ED7-0848-B468-9AFF0C3D14A2}" dt="2023-09-15T19:16:32.176" v="17"/>
          <ac:graphicFrameMkLst>
            <pc:docMk/>
            <pc:sldMk cId="4105040733" sldId="2147471266"/>
            <ac:graphicFrameMk id="8" creationId="{E8AC67C0-D840-6867-AB45-D89C62DBA23D}"/>
          </ac:graphicFrameMkLst>
        </pc:graphicFrame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0B3DD13-FD38-48C8-A3C5-D25BAB4F73D4}" type="doc">
      <dgm:prSet loTypeId="urn:microsoft.com/office/officeart/2005/8/layout/chevron1" loCatId="process" qsTypeId="urn:microsoft.com/office/officeart/2005/8/quickstyle/simple1" qsCatId="simple" csTypeId="urn:microsoft.com/office/officeart/2005/8/colors/colorful1" csCatId="colorful" phldr="1"/>
      <dgm:spPr/>
    </dgm:pt>
    <dgm:pt modelId="{4B8A137A-6F5D-4A65-AD04-E2DFBD2CB8D6}">
      <dgm:prSet phldrT="[Text]" custT="1"/>
      <dgm:spPr>
        <a:solidFill>
          <a:schemeClr val="tx1"/>
        </a:solidFill>
      </dgm:spPr>
      <dgm:t>
        <a:bodyPr lIns="137160"/>
        <a:lstStyle/>
        <a:p>
          <a:pPr algn="l">
            <a:lnSpc>
              <a:spcPct val="90000"/>
            </a:lnSpc>
            <a:spcBef>
              <a:spcPts val="0"/>
            </a:spcBef>
            <a:spcAft>
              <a:spcPts val="0"/>
            </a:spcAft>
          </a:pPr>
          <a:r>
            <a:rPr lang="en-US" sz="1200" b="1" dirty="0">
              <a:solidFill>
                <a:schemeClr val="bg1"/>
              </a:solidFill>
            </a:rPr>
            <a:t>OFFER ACCEPTED</a:t>
          </a:r>
          <a:endParaRPr lang="en-US" sz="1200" b="1" u="none" dirty="0">
            <a:solidFill>
              <a:schemeClr val="bg1"/>
            </a:solidFill>
          </a:endParaRPr>
        </a:p>
      </dgm:t>
    </dgm:pt>
    <dgm:pt modelId="{32CC5DD8-DA79-4EF2-BFA1-B72CFB0407BD}" type="parTrans" cxnId="{BC48CBC5-985F-409C-92A4-26BFE7A64A41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86CC5FF0-654A-4913-94E8-C313E655A2A0}" type="sibTrans" cxnId="{BC48CBC5-985F-409C-92A4-26BFE7A64A41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05FFEE9E-A0C7-4F25-8A5A-9737DE063F9B}">
      <dgm:prSet phldrT="[Text]" custT="1"/>
      <dgm:spPr>
        <a:solidFill>
          <a:schemeClr val="accent1"/>
        </a:solidFill>
      </dgm:spPr>
      <dgm:t>
        <a:bodyPr lIns="91440"/>
        <a:lstStyle/>
        <a:p>
          <a:pPr algn="l">
            <a:lnSpc>
              <a:spcPct val="90000"/>
            </a:lnSpc>
            <a:spcBef>
              <a:spcPts val="0"/>
            </a:spcBef>
            <a:spcAft>
              <a:spcPts val="0"/>
            </a:spcAft>
          </a:pPr>
          <a:r>
            <a:rPr lang="en-US" sz="1200" b="1" dirty="0">
              <a:solidFill>
                <a:schemeClr val="bg1"/>
              </a:solidFill>
            </a:rPr>
            <a:t>WELCOME &amp; NOTIFICATIONS </a:t>
          </a:r>
          <a:r>
            <a:rPr lang="en-US" sz="1200" b="1" u="none" dirty="0">
              <a:solidFill>
                <a:schemeClr val="bg1"/>
              </a:solidFill>
            </a:rPr>
            <a:t>(PRE DAY 1) </a:t>
          </a:r>
        </a:p>
      </dgm:t>
    </dgm:pt>
    <dgm:pt modelId="{17D1C24F-33F2-45F6-8BF7-F8B12B8413C0}" type="parTrans" cxnId="{C735DAAC-CF3D-4A4B-B5DC-2FFCAA2D841F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23AAB006-D994-43D4-BAFB-983146D092E0}" type="sibTrans" cxnId="{C735DAAC-CF3D-4A4B-B5DC-2FFCAA2D841F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FBA8262A-C95C-41F6-B496-4B19A071BD32}">
      <dgm:prSet phldrT="[Text]" custT="1"/>
      <dgm:spPr>
        <a:solidFill>
          <a:schemeClr val="accent3"/>
        </a:solidFill>
      </dgm:spPr>
      <dgm:t>
        <a:bodyPr lIns="91440"/>
        <a:lstStyle/>
        <a:p>
          <a:pPr algn="l">
            <a:lnSpc>
              <a:spcPct val="90000"/>
            </a:lnSpc>
            <a:spcBef>
              <a:spcPts val="0"/>
            </a:spcBef>
            <a:spcAft>
              <a:spcPts val="0"/>
            </a:spcAft>
          </a:pPr>
          <a:r>
            <a:rPr lang="en-US" sz="1200" b="1" dirty="0">
              <a:solidFill>
                <a:schemeClr val="bg1"/>
              </a:solidFill>
            </a:rPr>
            <a:t>EMPLOYEE START </a:t>
          </a:r>
          <a:endParaRPr lang="en-US" sz="1200" b="1" u="none" dirty="0">
            <a:solidFill>
              <a:schemeClr val="bg1"/>
            </a:solidFill>
          </a:endParaRPr>
        </a:p>
      </dgm:t>
    </dgm:pt>
    <dgm:pt modelId="{F7A3F53B-4F07-4C3D-842E-0B1A732835F3}" type="parTrans" cxnId="{0A4F5321-CFEC-4D90-9889-6B033BB5F6FD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F269EE3E-F7ED-4E2B-80AD-4F4B6AD15E3C}" type="sibTrans" cxnId="{0A4F5321-CFEC-4D90-9889-6B033BB5F6FD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F2277F3A-1308-4A54-8A9D-5C20453B75A4}" type="pres">
      <dgm:prSet presAssocID="{00B3DD13-FD38-48C8-A3C5-D25BAB4F73D4}" presName="Name0" presStyleCnt="0">
        <dgm:presLayoutVars>
          <dgm:dir/>
          <dgm:animLvl val="lvl"/>
          <dgm:resizeHandles val="exact"/>
        </dgm:presLayoutVars>
      </dgm:prSet>
      <dgm:spPr/>
    </dgm:pt>
    <dgm:pt modelId="{227C3827-AD18-4ACC-BBF9-2553F14DEA93}" type="pres">
      <dgm:prSet presAssocID="{4B8A137A-6F5D-4A65-AD04-E2DFBD2CB8D6}" presName="parTxOnly" presStyleLbl="node1" presStyleIdx="0" presStyleCnt="3" custScaleX="67831" custLinFactNeighborX="46667">
        <dgm:presLayoutVars>
          <dgm:chMax val="0"/>
          <dgm:chPref val="0"/>
          <dgm:bulletEnabled val="1"/>
        </dgm:presLayoutVars>
      </dgm:prSet>
      <dgm:spPr>
        <a:prstGeom prst="homePlate">
          <a:avLst/>
        </a:prstGeom>
      </dgm:spPr>
    </dgm:pt>
    <dgm:pt modelId="{13FBE279-B3AB-4758-87F6-166AA25A3B35}" type="pres">
      <dgm:prSet presAssocID="{86CC5FF0-654A-4913-94E8-C313E655A2A0}" presName="parTxOnlySpace" presStyleCnt="0"/>
      <dgm:spPr/>
    </dgm:pt>
    <dgm:pt modelId="{63354D9A-E86A-406B-90F6-80438366E77E}" type="pres">
      <dgm:prSet presAssocID="{05FFEE9E-A0C7-4F25-8A5A-9737DE063F9B}" presName="parTxOnly" presStyleLbl="node1" presStyleIdx="1" presStyleCnt="3" custScaleX="118061">
        <dgm:presLayoutVars>
          <dgm:chMax val="0"/>
          <dgm:chPref val="0"/>
          <dgm:bulletEnabled val="1"/>
        </dgm:presLayoutVars>
      </dgm:prSet>
      <dgm:spPr/>
    </dgm:pt>
    <dgm:pt modelId="{265B47A7-860B-41C4-A381-EE9B2DD0D943}" type="pres">
      <dgm:prSet presAssocID="{23AAB006-D994-43D4-BAFB-983146D092E0}" presName="parTxOnlySpace" presStyleCnt="0"/>
      <dgm:spPr/>
    </dgm:pt>
    <dgm:pt modelId="{6C585D45-2F21-4487-BEF9-65A4D1B08F2D}" type="pres">
      <dgm:prSet presAssocID="{FBA8262A-C95C-41F6-B496-4B19A071BD32}" presName="parTxOnly" presStyleLbl="node1" presStyleIdx="2" presStyleCnt="3" custScaleX="101706">
        <dgm:presLayoutVars>
          <dgm:chMax val="0"/>
          <dgm:chPref val="0"/>
          <dgm:bulletEnabled val="1"/>
        </dgm:presLayoutVars>
      </dgm:prSet>
      <dgm:spPr/>
    </dgm:pt>
  </dgm:ptLst>
  <dgm:cxnLst>
    <dgm:cxn modelId="{0A4F5321-CFEC-4D90-9889-6B033BB5F6FD}" srcId="{00B3DD13-FD38-48C8-A3C5-D25BAB4F73D4}" destId="{FBA8262A-C95C-41F6-B496-4B19A071BD32}" srcOrd="2" destOrd="0" parTransId="{F7A3F53B-4F07-4C3D-842E-0B1A732835F3}" sibTransId="{F269EE3E-F7ED-4E2B-80AD-4F4B6AD15E3C}"/>
    <dgm:cxn modelId="{922A1C8F-A165-4C26-B6AC-9CF56F2A4EFD}" type="presOf" srcId="{FBA8262A-C95C-41F6-B496-4B19A071BD32}" destId="{6C585D45-2F21-4487-BEF9-65A4D1B08F2D}" srcOrd="0" destOrd="0" presId="urn:microsoft.com/office/officeart/2005/8/layout/chevron1"/>
    <dgm:cxn modelId="{C735DAAC-CF3D-4A4B-B5DC-2FFCAA2D841F}" srcId="{00B3DD13-FD38-48C8-A3C5-D25BAB4F73D4}" destId="{05FFEE9E-A0C7-4F25-8A5A-9737DE063F9B}" srcOrd="1" destOrd="0" parTransId="{17D1C24F-33F2-45F6-8BF7-F8B12B8413C0}" sibTransId="{23AAB006-D994-43D4-BAFB-983146D092E0}"/>
    <dgm:cxn modelId="{7C25E2BE-0BB5-4E33-B69E-0415E2413411}" type="presOf" srcId="{4B8A137A-6F5D-4A65-AD04-E2DFBD2CB8D6}" destId="{227C3827-AD18-4ACC-BBF9-2553F14DEA93}" srcOrd="0" destOrd="0" presId="urn:microsoft.com/office/officeart/2005/8/layout/chevron1"/>
    <dgm:cxn modelId="{BC48CBC5-985F-409C-92A4-26BFE7A64A41}" srcId="{00B3DD13-FD38-48C8-A3C5-D25BAB4F73D4}" destId="{4B8A137A-6F5D-4A65-AD04-E2DFBD2CB8D6}" srcOrd="0" destOrd="0" parTransId="{32CC5DD8-DA79-4EF2-BFA1-B72CFB0407BD}" sibTransId="{86CC5FF0-654A-4913-94E8-C313E655A2A0}"/>
    <dgm:cxn modelId="{BC3D55E8-2F4D-44A0-9EC3-FB112ECCEC8E}" type="presOf" srcId="{05FFEE9E-A0C7-4F25-8A5A-9737DE063F9B}" destId="{63354D9A-E86A-406B-90F6-80438366E77E}" srcOrd="0" destOrd="0" presId="urn:microsoft.com/office/officeart/2005/8/layout/chevron1"/>
    <dgm:cxn modelId="{FD3BA2F3-4A46-403D-908A-1C2D1E331721}" type="presOf" srcId="{00B3DD13-FD38-48C8-A3C5-D25BAB4F73D4}" destId="{F2277F3A-1308-4A54-8A9D-5C20453B75A4}" srcOrd="0" destOrd="0" presId="urn:microsoft.com/office/officeart/2005/8/layout/chevron1"/>
    <dgm:cxn modelId="{0DDB2B43-EAA7-4AFF-BC24-4639A7892A37}" type="presParOf" srcId="{F2277F3A-1308-4A54-8A9D-5C20453B75A4}" destId="{227C3827-AD18-4ACC-BBF9-2553F14DEA93}" srcOrd="0" destOrd="0" presId="urn:microsoft.com/office/officeart/2005/8/layout/chevron1"/>
    <dgm:cxn modelId="{35C9E48C-95BF-4AAE-B253-CA01153B8839}" type="presParOf" srcId="{F2277F3A-1308-4A54-8A9D-5C20453B75A4}" destId="{13FBE279-B3AB-4758-87F6-166AA25A3B35}" srcOrd="1" destOrd="0" presId="urn:microsoft.com/office/officeart/2005/8/layout/chevron1"/>
    <dgm:cxn modelId="{435D75D1-6636-4555-974C-CE190E2455E9}" type="presParOf" srcId="{F2277F3A-1308-4A54-8A9D-5C20453B75A4}" destId="{63354D9A-E86A-406B-90F6-80438366E77E}" srcOrd="2" destOrd="0" presId="urn:microsoft.com/office/officeart/2005/8/layout/chevron1"/>
    <dgm:cxn modelId="{54490ABA-6FA4-40EC-8474-819DCD90A248}" type="presParOf" srcId="{F2277F3A-1308-4A54-8A9D-5C20453B75A4}" destId="{265B47A7-860B-41C4-A381-EE9B2DD0D943}" srcOrd="3" destOrd="0" presId="urn:microsoft.com/office/officeart/2005/8/layout/chevron1"/>
    <dgm:cxn modelId="{B8FD5617-7330-48A9-A608-49F21BF1BDDD}" type="presParOf" srcId="{F2277F3A-1308-4A54-8A9D-5C20453B75A4}" destId="{6C585D45-2F21-4487-BEF9-65A4D1B08F2D}" srcOrd="4" destOrd="0" presId="urn:microsoft.com/office/officeart/2005/8/layout/chevron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0B3DD13-FD38-48C8-A3C5-D25BAB4F73D4}" type="doc">
      <dgm:prSet loTypeId="urn:microsoft.com/office/officeart/2005/8/layout/chevron1" loCatId="process" qsTypeId="urn:microsoft.com/office/officeart/2005/8/quickstyle/simple1" qsCatId="simple" csTypeId="urn:microsoft.com/office/officeart/2005/8/colors/colorful1" csCatId="colorful" phldr="1"/>
      <dgm:spPr/>
    </dgm:pt>
    <dgm:pt modelId="{4B8A137A-6F5D-4A65-AD04-E2DFBD2CB8D6}">
      <dgm:prSet phldrT="[Text]" custT="1"/>
      <dgm:spPr>
        <a:solidFill>
          <a:schemeClr val="tx1"/>
        </a:solidFill>
      </dgm:spPr>
      <dgm:t>
        <a:bodyPr lIns="137160"/>
        <a:lstStyle/>
        <a:p>
          <a:pPr algn="l">
            <a:lnSpc>
              <a:spcPct val="90000"/>
            </a:lnSpc>
            <a:spcBef>
              <a:spcPts val="0"/>
            </a:spcBef>
            <a:spcAft>
              <a:spcPts val="0"/>
            </a:spcAft>
          </a:pPr>
          <a:r>
            <a:rPr lang="en-US" sz="1200" b="1" dirty="0">
              <a:solidFill>
                <a:schemeClr val="bg1"/>
              </a:solidFill>
            </a:rPr>
            <a:t>OFFER ACCEPTED</a:t>
          </a:r>
          <a:endParaRPr lang="en-US" sz="1200" b="1" u="none" dirty="0">
            <a:solidFill>
              <a:schemeClr val="bg1"/>
            </a:solidFill>
          </a:endParaRPr>
        </a:p>
      </dgm:t>
    </dgm:pt>
    <dgm:pt modelId="{32CC5DD8-DA79-4EF2-BFA1-B72CFB0407BD}" type="parTrans" cxnId="{BC48CBC5-985F-409C-92A4-26BFE7A64A41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86CC5FF0-654A-4913-94E8-C313E655A2A0}" type="sibTrans" cxnId="{BC48CBC5-985F-409C-92A4-26BFE7A64A41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05FFEE9E-A0C7-4F25-8A5A-9737DE063F9B}">
      <dgm:prSet phldrT="[Text]" custT="1"/>
      <dgm:spPr>
        <a:solidFill>
          <a:schemeClr val="accent1"/>
        </a:solidFill>
      </dgm:spPr>
      <dgm:t>
        <a:bodyPr lIns="91440"/>
        <a:lstStyle/>
        <a:p>
          <a:pPr algn="l">
            <a:lnSpc>
              <a:spcPct val="90000"/>
            </a:lnSpc>
            <a:spcBef>
              <a:spcPts val="0"/>
            </a:spcBef>
            <a:spcAft>
              <a:spcPts val="0"/>
            </a:spcAft>
          </a:pPr>
          <a:r>
            <a:rPr lang="en-US" sz="1200" b="1" dirty="0">
              <a:solidFill>
                <a:schemeClr val="bg1"/>
              </a:solidFill>
            </a:rPr>
            <a:t>WELCOME &amp; NOTIFICATIONS </a:t>
          </a:r>
          <a:r>
            <a:rPr lang="en-US" sz="1200" b="1" u="none" dirty="0">
              <a:solidFill>
                <a:schemeClr val="bg1"/>
              </a:solidFill>
            </a:rPr>
            <a:t>(PRE DAY 1) </a:t>
          </a:r>
        </a:p>
      </dgm:t>
    </dgm:pt>
    <dgm:pt modelId="{17D1C24F-33F2-45F6-8BF7-F8B12B8413C0}" type="parTrans" cxnId="{C735DAAC-CF3D-4A4B-B5DC-2FFCAA2D841F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23AAB006-D994-43D4-BAFB-983146D092E0}" type="sibTrans" cxnId="{C735DAAC-CF3D-4A4B-B5DC-2FFCAA2D841F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FBA8262A-C95C-41F6-B496-4B19A071BD32}">
      <dgm:prSet phldrT="[Text]" custT="1"/>
      <dgm:spPr>
        <a:solidFill>
          <a:schemeClr val="accent3"/>
        </a:solidFill>
      </dgm:spPr>
      <dgm:t>
        <a:bodyPr lIns="91440"/>
        <a:lstStyle/>
        <a:p>
          <a:pPr algn="l">
            <a:lnSpc>
              <a:spcPct val="90000"/>
            </a:lnSpc>
            <a:spcBef>
              <a:spcPts val="0"/>
            </a:spcBef>
            <a:spcAft>
              <a:spcPts val="0"/>
            </a:spcAft>
          </a:pPr>
          <a:r>
            <a:rPr lang="en-US" sz="1200" b="1" dirty="0">
              <a:solidFill>
                <a:schemeClr val="bg1"/>
              </a:solidFill>
            </a:rPr>
            <a:t>EMPLOYEE START </a:t>
          </a:r>
          <a:endParaRPr lang="en-US" sz="1200" b="1" u="none" dirty="0">
            <a:solidFill>
              <a:schemeClr val="bg1"/>
            </a:solidFill>
          </a:endParaRPr>
        </a:p>
      </dgm:t>
    </dgm:pt>
    <dgm:pt modelId="{F7A3F53B-4F07-4C3D-842E-0B1A732835F3}" type="parTrans" cxnId="{0A4F5321-CFEC-4D90-9889-6B033BB5F6FD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F269EE3E-F7ED-4E2B-80AD-4F4B6AD15E3C}" type="sibTrans" cxnId="{0A4F5321-CFEC-4D90-9889-6B033BB5F6FD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F2277F3A-1308-4A54-8A9D-5C20453B75A4}" type="pres">
      <dgm:prSet presAssocID="{00B3DD13-FD38-48C8-A3C5-D25BAB4F73D4}" presName="Name0" presStyleCnt="0">
        <dgm:presLayoutVars>
          <dgm:dir/>
          <dgm:animLvl val="lvl"/>
          <dgm:resizeHandles val="exact"/>
        </dgm:presLayoutVars>
      </dgm:prSet>
      <dgm:spPr/>
    </dgm:pt>
    <dgm:pt modelId="{227C3827-AD18-4ACC-BBF9-2553F14DEA93}" type="pres">
      <dgm:prSet presAssocID="{4B8A137A-6F5D-4A65-AD04-E2DFBD2CB8D6}" presName="parTxOnly" presStyleLbl="node1" presStyleIdx="0" presStyleCnt="3" custScaleX="67831" custLinFactNeighborX="46667">
        <dgm:presLayoutVars>
          <dgm:chMax val="0"/>
          <dgm:chPref val="0"/>
          <dgm:bulletEnabled val="1"/>
        </dgm:presLayoutVars>
      </dgm:prSet>
      <dgm:spPr>
        <a:prstGeom prst="homePlate">
          <a:avLst/>
        </a:prstGeom>
      </dgm:spPr>
    </dgm:pt>
    <dgm:pt modelId="{13FBE279-B3AB-4758-87F6-166AA25A3B35}" type="pres">
      <dgm:prSet presAssocID="{86CC5FF0-654A-4913-94E8-C313E655A2A0}" presName="parTxOnlySpace" presStyleCnt="0"/>
      <dgm:spPr/>
    </dgm:pt>
    <dgm:pt modelId="{63354D9A-E86A-406B-90F6-80438366E77E}" type="pres">
      <dgm:prSet presAssocID="{05FFEE9E-A0C7-4F25-8A5A-9737DE063F9B}" presName="parTxOnly" presStyleLbl="node1" presStyleIdx="1" presStyleCnt="3" custScaleX="118061">
        <dgm:presLayoutVars>
          <dgm:chMax val="0"/>
          <dgm:chPref val="0"/>
          <dgm:bulletEnabled val="1"/>
        </dgm:presLayoutVars>
      </dgm:prSet>
      <dgm:spPr/>
    </dgm:pt>
    <dgm:pt modelId="{265B47A7-860B-41C4-A381-EE9B2DD0D943}" type="pres">
      <dgm:prSet presAssocID="{23AAB006-D994-43D4-BAFB-983146D092E0}" presName="parTxOnlySpace" presStyleCnt="0"/>
      <dgm:spPr/>
    </dgm:pt>
    <dgm:pt modelId="{6C585D45-2F21-4487-BEF9-65A4D1B08F2D}" type="pres">
      <dgm:prSet presAssocID="{FBA8262A-C95C-41F6-B496-4B19A071BD32}" presName="parTxOnly" presStyleLbl="node1" presStyleIdx="2" presStyleCnt="3" custScaleX="101706">
        <dgm:presLayoutVars>
          <dgm:chMax val="0"/>
          <dgm:chPref val="0"/>
          <dgm:bulletEnabled val="1"/>
        </dgm:presLayoutVars>
      </dgm:prSet>
      <dgm:spPr/>
    </dgm:pt>
  </dgm:ptLst>
  <dgm:cxnLst>
    <dgm:cxn modelId="{0A4F5321-CFEC-4D90-9889-6B033BB5F6FD}" srcId="{00B3DD13-FD38-48C8-A3C5-D25BAB4F73D4}" destId="{FBA8262A-C95C-41F6-B496-4B19A071BD32}" srcOrd="2" destOrd="0" parTransId="{F7A3F53B-4F07-4C3D-842E-0B1A732835F3}" sibTransId="{F269EE3E-F7ED-4E2B-80AD-4F4B6AD15E3C}"/>
    <dgm:cxn modelId="{922A1C8F-A165-4C26-B6AC-9CF56F2A4EFD}" type="presOf" srcId="{FBA8262A-C95C-41F6-B496-4B19A071BD32}" destId="{6C585D45-2F21-4487-BEF9-65A4D1B08F2D}" srcOrd="0" destOrd="0" presId="urn:microsoft.com/office/officeart/2005/8/layout/chevron1"/>
    <dgm:cxn modelId="{C735DAAC-CF3D-4A4B-B5DC-2FFCAA2D841F}" srcId="{00B3DD13-FD38-48C8-A3C5-D25BAB4F73D4}" destId="{05FFEE9E-A0C7-4F25-8A5A-9737DE063F9B}" srcOrd="1" destOrd="0" parTransId="{17D1C24F-33F2-45F6-8BF7-F8B12B8413C0}" sibTransId="{23AAB006-D994-43D4-BAFB-983146D092E0}"/>
    <dgm:cxn modelId="{7C25E2BE-0BB5-4E33-B69E-0415E2413411}" type="presOf" srcId="{4B8A137A-6F5D-4A65-AD04-E2DFBD2CB8D6}" destId="{227C3827-AD18-4ACC-BBF9-2553F14DEA93}" srcOrd="0" destOrd="0" presId="urn:microsoft.com/office/officeart/2005/8/layout/chevron1"/>
    <dgm:cxn modelId="{BC48CBC5-985F-409C-92A4-26BFE7A64A41}" srcId="{00B3DD13-FD38-48C8-A3C5-D25BAB4F73D4}" destId="{4B8A137A-6F5D-4A65-AD04-E2DFBD2CB8D6}" srcOrd="0" destOrd="0" parTransId="{32CC5DD8-DA79-4EF2-BFA1-B72CFB0407BD}" sibTransId="{86CC5FF0-654A-4913-94E8-C313E655A2A0}"/>
    <dgm:cxn modelId="{BC3D55E8-2F4D-44A0-9EC3-FB112ECCEC8E}" type="presOf" srcId="{05FFEE9E-A0C7-4F25-8A5A-9737DE063F9B}" destId="{63354D9A-E86A-406B-90F6-80438366E77E}" srcOrd="0" destOrd="0" presId="urn:microsoft.com/office/officeart/2005/8/layout/chevron1"/>
    <dgm:cxn modelId="{FD3BA2F3-4A46-403D-908A-1C2D1E331721}" type="presOf" srcId="{00B3DD13-FD38-48C8-A3C5-D25BAB4F73D4}" destId="{F2277F3A-1308-4A54-8A9D-5C20453B75A4}" srcOrd="0" destOrd="0" presId="urn:microsoft.com/office/officeart/2005/8/layout/chevron1"/>
    <dgm:cxn modelId="{0DDB2B43-EAA7-4AFF-BC24-4639A7892A37}" type="presParOf" srcId="{F2277F3A-1308-4A54-8A9D-5C20453B75A4}" destId="{227C3827-AD18-4ACC-BBF9-2553F14DEA93}" srcOrd="0" destOrd="0" presId="urn:microsoft.com/office/officeart/2005/8/layout/chevron1"/>
    <dgm:cxn modelId="{35C9E48C-95BF-4AAE-B253-CA01153B8839}" type="presParOf" srcId="{F2277F3A-1308-4A54-8A9D-5C20453B75A4}" destId="{13FBE279-B3AB-4758-87F6-166AA25A3B35}" srcOrd="1" destOrd="0" presId="urn:microsoft.com/office/officeart/2005/8/layout/chevron1"/>
    <dgm:cxn modelId="{435D75D1-6636-4555-974C-CE190E2455E9}" type="presParOf" srcId="{F2277F3A-1308-4A54-8A9D-5C20453B75A4}" destId="{63354D9A-E86A-406B-90F6-80438366E77E}" srcOrd="2" destOrd="0" presId="urn:microsoft.com/office/officeart/2005/8/layout/chevron1"/>
    <dgm:cxn modelId="{54490ABA-6FA4-40EC-8474-819DCD90A248}" type="presParOf" srcId="{F2277F3A-1308-4A54-8A9D-5C20453B75A4}" destId="{265B47A7-860B-41C4-A381-EE9B2DD0D943}" srcOrd="3" destOrd="0" presId="urn:microsoft.com/office/officeart/2005/8/layout/chevron1"/>
    <dgm:cxn modelId="{B8FD5617-7330-48A9-A608-49F21BF1BDDD}" type="presParOf" srcId="{F2277F3A-1308-4A54-8A9D-5C20453B75A4}" destId="{6C585D45-2F21-4487-BEF9-65A4D1B08F2D}" srcOrd="4" destOrd="0" presId="urn:microsoft.com/office/officeart/2005/8/layout/chevron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0B3DD13-FD38-48C8-A3C5-D25BAB4F73D4}" type="doc">
      <dgm:prSet loTypeId="urn:microsoft.com/office/officeart/2005/8/layout/chevron1" loCatId="process" qsTypeId="urn:microsoft.com/office/officeart/2005/8/quickstyle/simple1" qsCatId="simple" csTypeId="urn:microsoft.com/office/officeart/2005/8/colors/colorful1" csCatId="colorful" phldr="1"/>
      <dgm:spPr/>
    </dgm:pt>
    <dgm:pt modelId="{4B8A137A-6F5D-4A65-AD04-E2DFBD2CB8D6}">
      <dgm:prSet phldrT="[Text]" custT="1"/>
      <dgm:spPr>
        <a:solidFill>
          <a:schemeClr val="tx1"/>
        </a:solidFill>
      </dgm:spPr>
      <dgm:t>
        <a:bodyPr lIns="137160"/>
        <a:lstStyle/>
        <a:p>
          <a:pPr algn="l">
            <a:lnSpc>
              <a:spcPct val="90000"/>
            </a:lnSpc>
            <a:spcBef>
              <a:spcPts val="0"/>
            </a:spcBef>
            <a:spcAft>
              <a:spcPts val="0"/>
            </a:spcAft>
          </a:pPr>
          <a:r>
            <a:rPr lang="en-US" sz="1200" b="1" dirty="0">
              <a:solidFill>
                <a:schemeClr val="bg1"/>
              </a:solidFill>
            </a:rPr>
            <a:t>OFFER ACCEPTED</a:t>
          </a:r>
          <a:endParaRPr lang="en-US" sz="1200" b="1" u="none" dirty="0">
            <a:solidFill>
              <a:schemeClr val="bg1"/>
            </a:solidFill>
          </a:endParaRPr>
        </a:p>
      </dgm:t>
    </dgm:pt>
    <dgm:pt modelId="{32CC5DD8-DA79-4EF2-BFA1-B72CFB0407BD}" type="parTrans" cxnId="{BC48CBC5-985F-409C-92A4-26BFE7A64A41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86CC5FF0-654A-4913-94E8-C313E655A2A0}" type="sibTrans" cxnId="{BC48CBC5-985F-409C-92A4-26BFE7A64A41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05FFEE9E-A0C7-4F25-8A5A-9737DE063F9B}">
      <dgm:prSet phldrT="[Text]" custT="1"/>
      <dgm:spPr>
        <a:solidFill>
          <a:schemeClr val="accent1"/>
        </a:solidFill>
      </dgm:spPr>
      <dgm:t>
        <a:bodyPr lIns="91440"/>
        <a:lstStyle/>
        <a:p>
          <a:pPr algn="l">
            <a:lnSpc>
              <a:spcPct val="90000"/>
            </a:lnSpc>
            <a:spcBef>
              <a:spcPts val="0"/>
            </a:spcBef>
            <a:spcAft>
              <a:spcPts val="0"/>
            </a:spcAft>
          </a:pPr>
          <a:r>
            <a:rPr lang="en-US" sz="1200" b="1" dirty="0">
              <a:solidFill>
                <a:schemeClr val="bg1"/>
              </a:solidFill>
            </a:rPr>
            <a:t>WELCOME &amp; NOTIFICATIONS </a:t>
          </a:r>
          <a:r>
            <a:rPr lang="en-US" sz="1200" b="1" u="none" dirty="0">
              <a:solidFill>
                <a:schemeClr val="bg1"/>
              </a:solidFill>
            </a:rPr>
            <a:t>(PRE DAY 1) </a:t>
          </a:r>
        </a:p>
      </dgm:t>
    </dgm:pt>
    <dgm:pt modelId="{17D1C24F-33F2-45F6-8BF7-F8B12B8413C0}" type="parTrans" cxnId="{C735DAAC-CF3D-4A4B-B5DC-2FFCAA2D841F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23AAB006-D994-43D4-BAFB-983146D092E0}" type="sibTrans" cxnId="{C735DAAC-CF3D-4A4B-B5DC-2FFCAA2D841F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FBA8262A-C95C-41F6-B496-4B19A071BD32}">
      <dgm:prSet phldrT="[Text]" custT="1"/>
      <dgm:spPr>
        <a:solidFill>
          <a:schemeClr val="accent3"/>
        </a:solidFill>
      </dgm:spPr>
      <dgm:t>
        <a:bodyPr lIns="91440"/>
        <a:lstStyle/>
        <a:p>
          <a:pPr algn="l">
            <a:lnSpc>
              <a:spcPct val="90000"/>
            </a:lnSpc>
            <a:spcBef>
              <a:spcPts val="0"/>
            </a:spcBef>
            <a:spcAft>
              <a:spcPts val="0"/>
            </a:spcAft>
          </a:pPr>
          <a:r>
            <a:rPr lang="en-US" sz="1200" b="1" dirty="0">
              <a:solidFill>
                <a:schemeClr val="bg1"/>
              </a:solidFill>
            </a:rPr>
            <a:t>EMPLOYEE START </a:t>
          </a:r>
          <a:endParaRPr lang="en-US" sz="1200" b="1" u="none" dirty="0">
            <a:solidFill>
              <a:schemeClr val="bg1"/>
            </a:solidFill>
          </a:endParaRPr>
        </a:p>
      </dgm:t>
    </dgm:pt>
    <dgm:pt modelId="{F7A3F53B-4F07-4C3D-842E-0B1A732835F3}" type="parTrans" cxnId="{0A4F5321-CFEC-4D90-9889-6B033BB5F6FD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F269EE3E-F7ED-4E2B-80AD-4F4B6AD15E3C}" type="sibTrans" cxnId="{0A4F5321-CFEC-4D90-9889-6B033BB5F6FD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F2277F3A-1308-4A54-8A9D-5C20453B75A4}" type="pres">
      <dgm:prSet presAssocID="{00B3DD13-FD38-48C8-A3C5-D25BAB4F73D4}" presName="Name0" presStyleCnt="0">
        <dgm:presLayoutVars>
          <dgm:dir/>
          <dgm:animLvl val="lvl"/>
          <dgm:resizeHandles val="exact"/>
        </dgm:presLayoutVars>
      </dgm:prSet>
      <dgm:spPr/>
    </dgm:pt>
    <dgm:pt modelId="{227C3827-AD18-4ACC-BBF9-2553F14DEA93}" type="pres">
      <dgm:prSet presAssocID="{4B8A137A-6F5D-4A65-AD04-E2DFBD2CB8D6}" presName="parTxOnly" presStyleLbl="node1" presStyleIdx="0" presStyleCnt="3" custScaleX="67831" custLinFactNeighborX="46667">
        <dgm:presLayoutVars>
          <dgm:chMax val="0"/>
          <dgm:chPref val="0"/>
          <dgm:bulletEnabled val="1"/>
        </dgm:presLayoutVars>
      </dgm:prSet>
      <dgm:spPr>
        <a:prstGeom prst="homePlate">
          <a:avLst/>
        </a:prstGeom>
      </dgm:spPr>
    </dgm:pt>
    <dgm:pt modelId="{13FBE279-B3AB-4758-87F6-166AA25A3B35}" type="pres">
      <dgm:prSet presAssocID="{86CC5FF0-654A-4913-94E8-C313E655A2A0}" presName="parTxOnlySpace" presStyleCnt="0"/>
      <dgm:spPr/>
    </dgm:pt>
    <dgm:pt modelId="{63354D9A-E86A-406B-90F6-80438366E77E}" type="pres">
      <dgm:prSet presAssocID="{05FFEE9E-A0C7-4F25-8A5A-9737DE063F9B}" presName="parTxOnly" presStyleLbl="node1" presStyleIdx="1" presStyleCnt="3" custScaleX="118061">
        <dgm:presLayoutVars>
          <dgm:chMax val="0"/>
          <dgm:chPref val="0"/>
          <dgm:bulletEnabled val="1"/>
        </dgm:presLayoutVars>
      </dgm:prSet>
      <dgm:spPr/>
    </dgm:pt>
    <dgm:pt modelId="{265B47A7-860B-41C4-A381-EE9B2DD0D943}" type="pres">
      <dgm:prSet presAssocID="{23AAB006-D994-43D4-BAFB-983146D092E0}" presName="parTxOnlySpace" presStyleCnt="0"/>
      <dgm:spPr/>
    </dgm:pt>
    <dgm:pt modelId="{6C585D45-2F21-4487-BEF9-65A4D1B08F2D}" type="pres">
      <dgm:prSet presAssocID="{FBA8262A-C95C-41F6-B496-4B19A071BD32}" presName="parTxOnly" presStyleLbl="node1" presStyleIdx="2" presStyleCnt="3" custScaleX="101706">
        <dgm:presLayoutVars>
          <dgm:chMax val="0"/>
          <dgm:chPref val="0"/>
          <dgm:bulletEnabled val="1"/>
        </dgm:presLayoutVars>
      </dgm:prSet>
      <dgm:spPr/>
    </dgm:pt>
  </dgm:ptLst>
  <dgm:cxnLst>
    <dgm:cxn modelId="{0A4F5321-CFEC-4D90-9889-6B033BB5F6FD}" srcId="{00B3DD13-FD38-48C8-A3C5-D25BAB4F73D4}" destId="{FBA8262A-C95C-41F6-B496-4B19A071BD32}" srcOrd="2" destOrd="0" parTransId="{F7A3F53B-4F07-4C3D-842E-0B1A732835F3}" sibTransId="{F269EE3E-F7ED-4E2B-80AD-4F4B6AD15E3C}"/>
    <dgm:cxn modelId="{922A1C8F-A165-4C26-B6AC-9CF56F2A4EFD}" type="presOf" srcId="{FBA8262A-C95C-41F6-B496-4B19A071BD32}" destId="{6C585D45-2F21-4487-BEF9-65A4D1B08F2D}" srcOrd="0" destOrd="0" presId="urn:microsoft.com/office/officeart/2005/8/layout/chevron1"/>
    <dgm:cxn modelId="{C735DAAC-CF3D-4A4B-B5DC-2FFCAA2D841F}" srcId="{00B3DD13-FD38-48C8-A3C5-D25BAB4F73D4}" destId="{05FFEE9E-A0C7-4F25-8A5A-9737DE063F9B}" srcOrd="1" destOrd="0" parTransId="{17D1C24F-33F2-45F6-8BF7-F8B12B8413C0}" sibTransId="{23AAB006-D994-43D4-BAFB-983146D092E0}"/>
    <dgm:cxn modelId="{7C25E2BE-0BB5-4E33-B69E-0415E2413411}" type="presOf" srcId="{4B8A137A-6F5D-4A65-AD04-E2DFBD2CB8D6}" destId="{227C3827-AD18-4ACC-BBF9-2553F14DEA93}" srcOrd="0" destOrd="0" presId="urn:microsoft.com/office/officeart/2005/8/layout/chevron1"/>
    <dgm:cxn modelId="{BC48CBC5-985F-409C-92A4-26BFE7A64A41}" srcId="{00B3DD13-FD38-48C8-A3C5-D25BAB4F73D4}" destId="{4B8A137A-6F5D-4A65-AD04-E2DFBD2CB8D6}" srcOrd="0" destOrd="0" parTransId="{32CC5DD8-DA79-4EF2-BFA1-B72CFB0407BD}" sibTransId="{86CC5FF0-654A-4913-94E8-C313E655A2A0}"/>
    <dgm:cxn modelId="{BC3D55E8-2F4D-44A0-9EC3-FB112ECCEC8E}" type="presOf" srcId="{05FFEE9E-A0C7-4F25-8A5A-9737DE063F9B}" destId="{63354D9A-E86A-406B-90F6-80438366E77E}" srcOrd="0" destOrd="0" presId="urn:microsoft.com/office/officeart/2005/8/layout/chevron1"/>
    <dgm:cxn modelId="{FD3BA2F3-4A46-403D-908A-1C2D1E331721}" type="presOf" srcId="{00B3DD13-FD38-48C8-A3C5-D25BAB4F73D4}" destId="{F2277F3A-1308-4A54-8A9D-5C20453B75A4}" srcOrd="0" destOrd="0" presId="urn:microsoft.com/office/officeart/2005/8/layout/chevron1"/>
    <dgm:cxn modelId="{0DDB2B43-EAA7-4AFF-BC24-4639A7892A37}" type="presParOf" srcId="{F2277F3A-1308-4A54-8A9D-5C20453B75A4}" destId="{227C3827-AD18-4ACC-BBF9-2553F14DEA93}" srcOrd="0" destOrd="0" presId="urn:microsoft.com/office/officeart/2005/8/layout/chevron1"/>
    <dgm:cxn modelId="{35C9E48C-95BF-4AAE-B253-CA01153B8839}" type="presParOf" srcId="{F2277F3A-1308-4A54-8A9D-5C20453B75A4}" destId="{13FBE279-B3AB-4758-87F6-166AA25A3B35}" srcOrd="1" destOrd="0" presId="urn:microsoft.com/office/officeart/2005/8/layout/chevron1"/>
    <dgm:cxn modelId="{435D75D1-6636-4555-974C-CE190E2455E9}" type="presParOf" srcId="{F2277F3A-1308-4A54-8A9D-5C20453B75A4}" destId="{63354D9A-E86A-406B-90F6-80438366E77E}" srcOrd="2" destOrd="0" presId="urn:microsoft.com/office/officeart/2005/8/layout/chevron1"/>
    <dgm:cxn modelId="{54490ABA-6FA4-40EC-8474-819DCD90A248}" type="presParOf" srcId="{F2277F3A-1308-4A54-8A9D-5C20453B75A4}" destId="{265B47A7-860B-41C4-A381-EE9B2DD0D943}" srcOrd="3" destOrd="0" presId="urn:microsoft.com/office/officeart/2005/8/layout/chevron1"/>
    <dgm:cxn modelId="{B8FD5617-7330-48A9-A608-49F21BF1BDDD}" type="presParOf" srcId="{F2277F3A-1308-4A54-8A9D-5C20453B75A4}" destId="{6C585D45-2F21-4487-BEF9-65A4D1B08F2D}" srcOrd="4" destOrd="0" presId="urn:microsoft.com/office/officeart/2005/8/layout/chevron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0B3DD13-FD38-48C8-A3C5-D25BAB4F73D4}" type="doc">
      <dgm:prSet loTypeId="urn:microsoft.com/office/officeart/2005/8/layout/chevron1" loCatId="process" qsTypeId="urn:microsoft.com/office/officeart/2005/8/quickstyle/simple1" qsCatId="simple" csTypeId="urn:microsoft.com/office/officeart/2005/8/colors/colorful1" csCatId="colorful" phldr="1"/>
      <dgm:spPr/>
    </dgm:pt>
    <dgm:pt modelId="{4B8A137A-6F5D-4A65-AD04-E2DFBD2CB8D6}">
      <dgm:prSet phldrT="[Text]" custT="1"/>
      <dgm:spPr>
        <a:solidFill>
          <a:schemeClr val="tx1"/>
        </a:solidFill>
      </dgm:spPr>
      <dgm:t>
        <a:bodyPr lIns="137160"/>
        <a:lstStyle/>
        <a:p>
          <a:pPr algn="l">
            <a:lnSpc>
              <a:spcPct val="90000"/>
            </a:lnSpc>
            <a:spcBef>
              <a:spcPts val="0"/>
            </a:spcBef>
            <a:spcAft>
              <a:spcPts val="0"/>
            </a:spcAft>
          </a:pPr>
          <a:r>
            <a:rPr lang="en-US" sz="1200" b="1" dirty="0">
              <a:solidFill>
                <a:schemeClr val="bg1"/>
              </a:solidFill>
            </a:rPr>
            <a:t>OFFER ACCEPTED</a:t>
          </a:r>
          <a:endParaRPr lang="en-US" sz="1200" b="1" u="none" dirty="0">
            <a:solidFill>
              <a:schemeClr val="bg1"/>
            </a:solidFill>
          </a:endParaRPr>
        </a:p>
      </dgm:t>
    </dgm:pt>
    <dgm:pt modelId="{32CC5DD8-DA79-4EF2-BFA1-B72CFB0407BD}" type="parTrans" cxnId="{BC48CBC5-985F-409C-92A4-26BFE7A64A41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86CC5FF0-654A-4913-94E8-C313E655A2A0}" type="sibTrans" cxnId="{BC48CBC5-985F-409C-92A4-26BFE7A64A41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05FFEE9E-A0C7-4F25-8A5A-9737DE063F9B}">
      <dgm:prSet phldrT="[Text]" custT="1"/>
      <dgm:spPr>
        <a:solidFill>
          <a:schemeClr val="accent1"/>
        </a:solidFill>
      </dgm:spPr>
      <dgm:t>
        <a:bodyPr lIns="91440"/>
        <a:lstStyle/>
        <a:p>
          <a:pPr algn="l">
            <a:lnSpc>
              <a:spcPct val="90000"/>
            </a:lnSpc>
            <a:spcBef>
              <a:spcPts val="0"/>
            </a:spcBef>
            <a:spcAft>
              <a:spcPts val="0"/>
            </a:spcAft>
          </a:pPr>
          <a:r>
            <a:rPr lang="en-US" sz="1200" b="1" dirty="0">
              <a:solidFill>
                <a:schemeClr val="bg1"/>
              </a:solidFill>
            </a:rPr>
            <a:t>WELCOME &amp; NOTIFICATIONS </a:t>
          </a:r>
          <a:r>
            <a:rPr lang="en-US" sz="1200" b="1" u="none" dirty="0">
              <a:solidFill>
                <a:schemeClr val="bg1"/>
              </a:solidFill>
            </a:rPr>
            <a:t>(PRE DAY 1) </a:t>
          </a:r>
        </a:p>
      </dgm:t>
    </dgm:pt>
    <dgm:pt modelId="{17D1C24F-33F2-45F6-8BF7-F8B12B8413C0}" type="parTrans" cxnId="{C735DAAC-CF3D-4A4B-B5DC-2FFCAA2D841F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23AAB006-D994-43D4-BAFB-983146D092E0}" type="sibTrans" cxnId="{C735DAAC-CF3D-4A4B-B5DC-2FFCAA2D841F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FBA8262A-C95C-41F6-B496-4B19A071BD32}">
      <dgm:prSet phldrT="[Text]" custT="1"/>
      <dgm:spPr>
        <a:solidFill>
          <a:schemeClr val="accent3"/>
        </a:solidFill>
      </dgm:spPr>
      <dgm:t>
        <a:bodyPr lIns="91440"/>
        <a:lstStyle/>
        <a:p>
          <a:pPr algn="l">
            <a:lnSpc>
              <a:spcPct val="90000"/>
            </a:lnSpc>
            <a:spcBef>
              <a:spcPts val="0"/>
            </a:spcBef>
            <a:spcAft>
              <a:spcPts val="0"/>
            </a:spcAft>
          </a:pPr>
          <a:r>
            <a:rPr lang="en-US" sz="1200" b="1" dirty="0">
              <a:solidFill>
                <a:schemeClr val="bg1"/>
              </a:solidFill>
            </a:rPr>
            <a:t>EMPLOYEE START </a:t>
          </a:r>
          <a:endParaRPr lang="en-US" sz="1200" b="1" u="none" dirty="0">
            <a:solidFill>
              <a:schemeClr val="bg1"/>
            </a:solidFill>
          </a:endParaRPr>
        </a:p>
      </dgm:t>
    </dgm:pt>
    <dgm:pt modelId="{F7A3F53B-4F07-4C3D-842E-0B1A732835F3}" type="parTrans" cxnId="{0A4F5321-CFEC-4D90-9889-6B033BB5F6FD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F269EE3E-F7ED-4E2B-80AD-4F4B6AD15E3C}" type="sibTrans" cxnId="{0A4F5321-CFEC-4D90-9889-6B033BB5F6FD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F2277F3A-1308-4A54-8A9D-5C20453B75A4}" type="pres">
      <dgm:prSet presAssocID="{00B3DD13-FD38-48C8-A3C5-D25BAB4F73D4}" presName="Name0" presStyleCnt="0">
        <dgm:presLayoutVars>
          <dgm:dir/>
          <dgm:animLvl val="lvl"/>
          <dgm:resizeHandles val="exact"/>
        </dgm:presLayoutVars>
      </dgm:prSet>
      <dgm:spPr/>
    </dgm:pt>
    <dgm:pt modelId="{227C3827-AD18-4ACC-BBF9-2553F14DEA93}" type="pres">
      <dgm:prSet presAssocID="{4B8A137A-6F5D-4A65-AD04-E2DFBD2CB8D6}" presName="parTxOnly" presStyleLbl="node1" presStyleIdx="0" presStyleCnt="3" custScaleX="67831" custLinFactNeighborX="46667">
        <dgm:presLayoutVars>
          <dgm:chMax val="0"/>
          <dgm:chPref val="0"/>
          <dgm:bulletEnabled val="1"/>
        </dgm:presLayoutVars>
      </dgm:prSet>
      <dgm:spPr>
        <a:prstGeom prst="homePlate">
          <a:avLst/>
        </a:prstGeom>
      </dgm:spPr>
    </dgm:pt>
    <dgm:pt modelId="{13FBE279-B3AB-4758-87F6-166AA25A3B35}" type="pres">
      <dgm:prSet presAssocID="{86CC5FF0-654A-4913-94E8-C313E655A2A0}" presName="parTxOnlySpace" presStyleCnt="0"/>
      <dgm:spPr/>
    </dgm:pt>
    <dgm:pt modelId="{63354D9A-E86A-406B-90F6-80438366E77E}" type="pres">
      <dgm:prSet presAssocID="{05FFEE9E-A0C7-4F25-8A5A-9737DE063F9B}" presName="parTxOnly" presStyleLbl="node1" presStyleIdx="1" presStyleCnt="3" custScaleX="118061">
        <dgm:presLayoutVars>
          <dgm:chMax val="0"/>
          <dgm:chPref val="0"/>
          <dgm:bulletEnabled val="1"/>
        </dgm:presLayoutVars>
      </dgm:prSet>
      <dgm:spPr/>
    </dgm:pt>
    <dgm:pt modelId="{265B47A7-860B-41C4-A381-EE9B2DD0D943}" type="pres">
      <dgm:prSet presAssocID="{23AAB006-D994-43D4-BAFB-983146D092E0}" presName="parTxOnlySpace" presStyleCnt="0"/>
      <dgm:spPr/>
    </dgm:pt>
    <dgm:pt modelId="{6C585D45-2F21-4487-BEF9-65A4D1B08F2D}" type="pres">
      <dgm:prSet presAssocID="{FBA8262A-C95C-41F6-B496-4B19A071BD32}" presName="parTxOnly" presStyleLbl="node1" presStyleIdx="2" presStyleCnt="3" custScaleX="101706">
        <dgm:presLayoutVars>
          <dgm:chMax val="0"/>
          <dgm:chPref val="0"/>
          <dgm:bulletEnabled val="1"/>
        </dgm:presLayoutVars>
      </dgm:prSet>
      <dgm:spPr/>
    </dgm:pt>
  </dgm:ptLst>
  <dgm:cxnLst>
    <dgm:cxn modelId="{0A4F5321-CFEC-4D90-9889-6B033BB5F6FD}" srcId="{00B3DD13-FD38-48C8-A3C5-D25BAB4F73D4}" destId="{FBA8262A-C95C-41F6-B496-4B19A071BD32}" srcOrd="2" destOrd="0" parTransId="{F7A3F53B-4F07-4C3D-842E-0B1A732835F3}" sibTransId="{F269EE3E-F7ED-4E2B-80AD-4F4B6AD15E3C}"/>
    <dgm:cxn modelId="{922A1C8F-A165-4C26-B6AC-9CF56F2A4EFD}" type="presOf" srcId="{FBA8262A-C95C-41F6-B496-4B19A071BD32}" destId="{6C585D45-2F21-4487-BEF9-65A4D1B08F2D}" srcOrd="0" destOrd="0" presId="urn:microsoft.com/office/officeart/2005/8/layout/chevron1"/>
    <dgm:cxn modelId="{C735DAAC-CF3D-4A4B-B5DC-2FFCAA2D841F}" srcId="{00B3DD13-FD38-48C8-A3C5-D25BAB4F73D4}" destId="{05FFEE9E-A0C7-4F25-8A5A-9737DE063F9B}" srcOrd="1" destOrd="0" parTransId="{17D1C24F-33F2-45F6-8BF7-F8B12B8413C0}" sibTransId="{23AAB006-D994-43D4-BAFB-983146D092E0}"/>
    <dgm:cxn modelId="{7C25E2BE-0BB5-4E33-B69E-0415E2413411}" type="presOf" srcId="{4B8A137A-6F5D-4A65-AD04-E2DFBD2CB8D6}" destId="{227C3827-AD18-4ACC-BBF9-2553F14DEA93}" srcOrd="0" destOrd="0" presId="urn:microsoft.com/office/officeart/2005/8/layout/chevron1"/>
    <dgm:cxn modelId="{BC48CBC5-985F-409C-92A4-26BFE7A64A41}" srcId="{00B3DD13-FD38-48C8-A3C5-D25BAB4F73D4}" destId="{4B8A137A-6F5D-4A65-AD04-E2DFBD2CB8D6}" srcOrd="0" destOrd="0" parTransId="{32CC5DD8-DA79-4EF2-BFA1-B72CFB0407BD}" sibTransId="{86CC5FF0-654A-4913-94E8-C313E655A2A0}"/>
    <dgm:cxn modelId="{BC3D55E8-2F4D-44A0-9EC3-FB112ECCEC8E}" type="presOf" srcId="{05FFEE9E-A0C7-4F25-8A5A-9737DE063F9B}" destId="{63354D9A-E86A-406B-90F6-80438366E77E}" srcOrd="0" destOrd="0" presId="urn:microsoft.com/office/officeart/2005/8/layout/chevron1"/>
    <dgm:cxn modelId="{FD3BA2F3-4A46-403D-908A-1C2D1E331721}" type="presOf" srcId="{00B3DD13-FD38-48C8-A3C5-D25BAB4F73D4}" destId="{F2277F3A-1308-4A54-8A9D-5C20453B75A4}" srcOrd="0" destOrd="0" presId="urn:microsoft.com/office/officeart/2005/8/layout/chevron1"/>
    <dgm:cxn modelId="{0DDB2B43-EAA7-4AFF-BC24-4639A7892A37}" type="presParOf" srcId="{F2277F3A-1308-4A54-8A9D-5C20453B75A4}" destId="{227C3827-AD18-4ACC-BBF9-2553F14DEA93}" srcOrd="0" destOrd="0" presId="urn:microsoft.com/office/officeart/2005/8/layout/chevron1"/>
    <dgm:cxn modelId="{35C9E48C-95BF-4AAE-B253-CA01153B8839}" type="presParOf" srcId="{F2277F3A-1308-4A54-8A9D-5C20453B75A4}" destId="{13FBE279-B3AB-4758-87F6-166AA25A3B35}" srcOrd="1" destOrd="0" presId="urn:microsoft.com/office/officeart/2005/8/layout/chevron1"/>
    <dgm:cxn modelId="{435D75D1-6636-4555-974C-CE190E2455E9}" type="presParOf" srcId="{F2277F3A-1308-4A54-8A9D-5C20453B75A4}" destId="{63354D9A-E86A-406B-90F6-80438366E77E}" srcOrd="2" destOrd="0" presId="urn:microsoft.com/office/officeart/2005/8/layout/chevron1"/>
    <dgm:cxn modelId="{54490ABA-6FA4-40EC-8474-819DCD90A248}" type="presParOf" srcId="{F2277F3A-1308-4A54-8A9D-5C20453B75A4}" destId="{265B47A7-860B-41C4-A381-EE9B2DD0D943}" srcOrd="3" destOrd="0" presId="urn:microsoft.com/office/officeart/2005/8/layout/chevron1"/>
    <dgm:cxn modelId="{B8FD5617-7330-48A9-A608-49F21BF1BDDD}" type="presParOf" srcId="{F2277F3A-1308-4A54-8A9D-5C20453B75A4}" destId="{6C585D45-2F21-4487-BEF9-65A4D1B08F2D}" srcOrd="4" destOrd="0" presId="urn:microsoft.com/office/officeart/2005/8/layout/chevron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0B3DD13-FD38-48C8-A3C5-D25BAB4F73D4}" type="doc">
      <dgm:prSet loTypeId="urn:microsoft.com/office/officeart/2005/8/layout/chevron1" loCatId="process" qsTypeId="urn:microsoft.com/office/officeart/2005/8/quickstyle/simple1" qsCatId="simple" csTypeId="urn:microsoft.com/office/officeart/2005/8/colors/colorful1" csCatId="colorful" phldr="1"/>
      <dgm:spPr/>
    </dgm:pt>
    <dgm:pt modelId="{4B8A137A-6F5D-4A65-AD04-E2DFBD2CB8D6}">
      <dgm:prSet phldrT="[Text]" custT="1"/>
      <dgm:spPr>
        <a:solidFill>
          <a:schemeClr val="tx1"/>
        </a:solidFill>
      </dgm:spPr>
      <dgm:t>
        <a:bodyPr lIns="137160"/>
        <a:lstStyle/>
        <a:p>
          <a:pPr algn="l">
            <a:lnSpc>
              <a:spcPct val="90000"/>
            </a:lnSpc>
            <a:spcBef>
              <a:spcPts val="0"/>
            </a:spcBef>
            <a:spcAft>
              <a:spcPts val="0"/>
            </a:spcAft>
          </a:pPr>
          <a:r>
            <a:rPr lang="en-US" sz="1200" b="1" dirty="0">
              <a:solidFill>
                <a:schemeClr val="bg1"/>
              </a:solidFill>
            </a:rPr>
            <a:t>OFFER ACCEPTED</a:t>
          </a:r>
          <a:endParaRPr lang="en-US" sz="1200" b="1" u="none" dirty="0">
            <a:solidFill>
              <a:schemeClr val="bg1"/>
            </a:solidFill>
          </a:endParaRPr>
        </a:p>
      </dgm:t>
    </dgm:pt>
    <dgm:pt modelId="{32CC5DD8-DA79-4EF2-BFA1-B72CFB0407BD}" type="parTrans" cxnId="{BC48CBC5-985F-409C-92A4-26BFE7A64A41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86CC5FF0-654A-4913-94E8-C313E655A2A0}" type="sibTrans" cxnId="{BC48CBC5-985F-409C-92A4-26BFE7A64A41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05FFEE9E-A0C7-4F25-8A5A-9737DE063F9B}">
      <dgm:prSet phldrT="[Text]" custT="1"/>
      <dgm:spPr>
        <a:solidFill>
          <a:schemeClr val="accent1"/>
        </a:solidFill>
      </dgm:spPr>
      <dgm:t>
        <a:bodyPr lIns="91440"/>
        <a:lstStyle/>
        <a:p>
          <a:pPr algn="l">
            <a:lnSpc>
              <a:spcPct val="90000"/>
            </a:lnSpc>
            <a:spcBef>
              <a:spcPts val="0"/>
            </a:spcBef>
            <a:spcAft>
              <a:spcPts val="0"/>
            </a:spcAft>
          </a:pPr>
          <a:r>
            <a:rPr lang="en-US" sz="1200" b="1" dirty="0">
              <a:solidFill>
                <a:schemeClr val="bg1"/>
              </a:solidFill>
            </a:rPr>
            <a:t>WELCOME &amp; NOTIFICATIONS </a:t>
          </a:r>
          <a:r>
            <a:rPr lang="en-US" sz="1200" b="1" u="none" dirty="0">
              <a:solidFill>
                <a:schemeClr val="bg1"/>
              </a:solidFill>
            </a:rPr>
            <a:t>(PRE DAY 1) </a:t>
          </a:r>
        </a:p>
      </dgm:t>
    </dgm:pt>
    <dgm:pt modelId="{17D1C24F-33F2-45F6-8BF7-F8B12B8413C0}" type="parTrans" cxnId="{C735DAAC-CF3D-4A4B-B5DC-2FFCAA2D841F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23AAB006-D994-43D4-BAFB-983146D092E0}" type="sibTrans" cxnId="{C735DAAC-CF3D-4A4B-B5DC-2FFCAA2D841F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FBA8262A-C95C-41F6-B496-4B19A071BD32}">
      <dgm:prSet phldrT="[Text]" custT="1"/>
      <dgm:spPr>
        <a:solidFill>
          <a:schemeClr val="accent3"/>
        </a:solidFill>
      </dgm:spPr>
      <dgm:t>
        <a:bodyPr lIns="91440"/>
        <a:lstStyle/>
        <a:p>
          <a:pPr algn="l">
            <a:lnSpc>
              <a:spcPct val="90000"/>
            </a:lnSpc>
            <a:spcBef>
              <a:spcPts val="0"/>
            </a:spcBef>
            <a:spcAft>
              <a:spcPts val="0"/>
            </a:spcAft>
          </a:pPr>
          <a:r>
            <a:rPr lang="en-US" sz="1200" b="1" dirty="0">
              <a:solidFill>
                <a:schemeClr val="bg1"/>
              </a:solidFill>
            </a:rPr>
            <a:t>EMPLOYEE START </a:t>
          </a:r>
          <a:endParaRPr lang="en-US" sz="1200" b="1" u="none" dirty="0">
            <a:solidFill>
              <a:schemeClr val="bg1"/>
            </a:solidFill>
          </a:endParaRPr>
        </a:p>
      </dgm:t>
    </dgm:pt>
    <dgm:pt modelId="{F7A3F53B-4F07-4C3D-842E-0B1A732835F3}" type="parTrans" cxnId="{0A4F5321-CFEC-4D90-9889-6B033BB5F6FD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F269EE3E-F7ED-4E2B-80AD-4F4B6AD15E3C}" type="sibTrans" cxnId="{0A4F5321-CFEC-4D90-9889-6B033BB5F6FD}">
      <dgm:prSet/>
      <dgm:spPr/>
      <dgm:t>
        <a:bodyPr/>
        <a:lstStyle/>
        <a:p>
          <a:pPr algn="l">
            <a:lnSpc>
              <a:spcPct val="90000"/>
            </a:lnSpc>
            <a:spcBef>
              <a:spcPts val="0"/>
            </a:spcBef>
          </a:pPr>
          <a:endParaRPr lang="en-US" sz="1200" b="1" u="none">
            <a:solidFill>
              <a:schemeClr val="bg1"/>
            </a:solidFill>
          </a:endParaRPr>
        </a:p>
      </dgm:t>
    </dgm:pt>
    <dgm:pt modelId="{F2277F3A-1308-4A54-8A9D-5C20453B75A4}" type="pres">
      <dgm:prSet presAssocID="{00B3DD13-FD38-48C8-A3C5-D25BAB4F73D4}" presName="Name0" presStyleCnt="0">
        <dgm:presLayoutVars>
          <dgm:dir/>
          <dgm:animLvl val="lvl"/>
          <dgm:resizeHandles val="exact"/>
        </dgm:presLayoutVars>
      </dgm:prSet>
      <dgm:spPr/>
    </dgm:pt>
    <dgm:pt modelId="{227C3827-AD18-4ACC-BBF9-2553F14DEA93}" type="pres">
      <dgm:prSet presAssocID="{4B8A137A-6F5D-4A65-AD04-E2DFBD2CB8D6}" presName="parTxOnly" presStyleLbl="node1" presStyleIdx="0" presStyleCnt="3" custScaleX="67831" custLinFactNeighborX="46667">
        <dgm:presLayoutVars>
          <dgm:chMax val="0"/>
          <dgm:chPref val="0"/>
          <dgm:bulletEnabled val="1"/>
        </dgm:presLayoutVars>
      </dgm:prSet>
      <dgm:spPr>
        <a:prstGeom prst="homePlate">
          <a:avLst/>
        </a:prstGeom>
      </dgm:spPr>
    </dgm:pt>
    <dgm:pt modelId="{13FBE279-B3AB-4758-87F6-166AA25A3B35}" type="pres">
      <dgm:prSet presAssocID="{86CC5FF0-654A-4913-94E8-C313E655A2A0}" presName="parTxOnlySpace" presStyleCnt="0"/>
      <dgm:spPr/>
    </dgm:pt>
    <dgm:pt modelId="{63354D9A-E86A-406B-90F6-80438366E77E}" type="pres">
      <dgm:prSet presAssocID="{05FFEE9E-A0C7-4F25-8A5A-9737DE063F9B}" presName="parTxOnly" presStyleLbl="node1" presStyleIdx="1" presStyleCnt="3" custScaleX="118061">
        <dgm:presLayoutVars>
          <dgm:chMax val="0"/>
          <dgm:chPref val="0"/>
          <dgm:bulletEnabled val="1"/>
        </dgm:presLayoutVars>
      </dgm:prSet>
      <dgm:spPr/>
    </dgm:pt>
    <dgm:pt modelId="{265B47A7-860B-41C4-A381-EE9B2DD0D943}" type="pres">
      <dgm:prSet presAssocID="{23AAB006-D994-43D4-BAFB-983146D092E0}" presName="parTxOnlySpace" presStyleCnt="0"/>
      <dgm:spPr/>
    </dgm:pt>
    <dgm:pt modelId="{6C585D45-2F21-4487-BEF9-65A4D1B08F2D}" type="pres">
      <dgm:prSet presAssocID="{FBA8262A-C95C-41F6-B496-4B19A071BD32}" presName="parTxOnly" presStyleLbl="node1" presStyleIdx="2" presStyleCnt="3" custScaleX="101706">
        <dgm:presLayoutVars>
          <dgm:chMax val="0"/>
          <dgm:chPref val="0"/>
          <dgm:bulletEnabled val="1"/>
        </dgm:presLayoutVars>
      </dgm:prSet>
      <dgm:spPr/>
    </dgm:pt>
  </dgm:ptLst>
  <dgm:cxnLst>
    <dgm:cxn modelId="{0A4F5321-CFEC-4D90-9889-6B033BB5F6FD}" srcId="{00B3DD13-FD38-48C8-A3C5-D25BAB4F73D4}" destId="{FBA8262A-C95C-41F6-B496-4B19A071BD32}" srcOrd="2" destOrd="0" parTransId="{F7A3F53B-4F07-4C3D-842E-0B1A732835F3}" sibTransId="{F269EE3E-F7ED-4E2B-80AD-4F4B6AD15E3C}"/>
    <dgm:cxn modelId="{922A1C8F-A165-4C26-B6AC-9CF56F2A4EFD}" type="presOf" srcId="{FBA8262A-C95C-41F6-B496-4B19A071BD32}" destId="{6C585D45-2F21-4487-BEF9-65A4D1B08F2D}" srcOrd="0" destOrd="0" presId="urn:microsoft.com/office/officeart/2005/8/layout/chevron1"/>
    <dgm:cxn modelId="{C735DAAC-CF3D-4A4B-B5DC-2FFCAA2D841F}" srcId="{00B3DD13-FD38-48C8-A3C5-D25BAB4F73D4}" destId="{05FFEE9E-A0C7-4F25-8A5A-9737DE063F9B}" srcOrd="1" destOrd="0" parTransId="{17D1C24F-33F2-45F6-8BF7-F8B12B8413C0}" sibTransId="{23AAB006-D994-43D4-BAFB-983146D092E0}"/>
    <dgm:cxn modelId="{7C25E2BE-0BB5-4E33-B69E-0415E2413411}" type="presOf" srcId="{4B8A137A-6F5D-4A65-AD04-E2DFBD2CB8D6}" destId="{227C3827-AD18-4ACC-BBF9-2553F14DEA93}" srcOrd="0" destOrd="0" presId="urn:microsoft.com/office/officeart/2005/8/layout/chevron1"/>
    <dgm:cxn modelId="{BC48CBC5-985F-409C-92A4-26BFE7A64A41}" srcId="{00B3DD13-FD38-48C8-A3C5-D25BAB4F73D4}" destId="{4B8A137A-6F5D-4A65-AD04-E2DFBD2CB8D6}" srcOrd="0" destOrd="0" parTransId="{32CC5DD8-DA79-4EF2-BFA1-B72CFB0407BD}" sibTransId="{86CC5FF0-654A-4913-94E8-C313E655A2A0}"/>
    <dgm:cxn modelId="{BC3D55E8-2F4D-44A0-9EC3-FB112ECCEC8E}" type="presOf" srcId="{05FFEE9E-A0C7-4F25-8A5A-9737DE063F9B}" destId="{63354D9A-E86A-406B-90F6-80438366E77E}" srcOrd="0" destOrd="0" presId="urn:microsoft.com/office/officeart/2005/8/layout/chevron1"/>
    <dgm:cxn modelId="{FD3BA2F3-4A46-403D-908A-1C2D1E331721}" type="presOf" srcId="{00B3DD13-FD38-48C8-A3C5-D25BAB4F73D4}" destId="{F2277F3A-1308-4A54-8A9D-5C20453B75A4}" srcOrd="0" destOrd="0" presId="urn:microsoft.com/office/officeart/2005/8/layout/chevron1"/>
    <dgm:cxn modelId="{0DDB2B43-EAA7-4AFF-BC24-4639A7892A37}" type="presParOf" srcId="{F2277F3A-1308-4A54-8A9D-5C20453B75A4}" destId="{227C3827-AD18-4ACC-BBF9-2553F14DEA93}" srcOrd="0" destOrd="0" presId="urn:microsoft.com/office/officeart/2005/8/layout/chevron1"/>
    <dgm:cxn modelId="{35C9E48C-95BF-4AAE-B253-CA01153B8839}" type="presParOf" srcId="{F2277F3A-1308-4A54-8A9D-5C20453B75A4}" destId="{13FBE279-B3AB-4758-87F6-166AA25A3B35}" srcOrd="1" destOrd="0" presId="urn:microsoft.com/office/officeart/2005/8/layout/chevron1"/>
    <dgm:cxn modelId="{435D75D1-6636-4555-974C-CE190E2455E9}" type="presParOf" srcId="{F2277F3A-1308-4A54-8A9D-5C20453B75A4}" destId="{63354D9A-E86A-406B-90F6-80438366E77E}" srcOrd="2" destOrd="0" presId="urn:microsoft.com/office/officeart/2005/8/layout/chevron1"/>
    <dgm:cxn modelId="{54490ABA-6FA4-40EC-8474-819DCD90A248}" type="presParOf" srcId="{F2277F3A-1308-4A54-8A9D-5C20453B75A4}" destId="{265B47A7-860B-41C4-A381-EE9B2DD0D943}" srcOrd="3" destOrd="0" presId="urn:microsoft.com/office/officeart/2005/8/layout/chevron1"/>
    <dgm:cxn modelId="{B8FD5617-7330-48A9-A608-49F21BF1BDDD}" type="presParOf" srcId="{F2277F3A-1308-4A54-8A9D-5C20453B75A4}" destId="{6C585D45-2F21-4487-BEF9-65A4D1B08F2D}" srcOrd="4" destOrd="0" presId="urn:microsoft.com/office/officeart/2005/8/layout/chevron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7C3827-AD18-4ACC-BBF9-2553F14DEA93}">
      <dsp:nvSpPr>
        <dsp:cNvPr id="0" name=""/>
        <dsp:cNvSpPr/>
      </dsp:nvSpPr>
      <dsp:spPr>
        <a:xfrm>
          <a:off x="175064" y="0"/>
          <a:ext cx="2513769" cy="453075"/>
        </a:xfrm>
        <a:prstGeom prst="homePlate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6002" rIns="16002" bIns="16002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b="1" kern="1200" dirty="0">
              <a:solidFill>
                <a:schemeClr val="bg1"/>
              </a:solidFill>
            </a:rPr>
            <a:t>OFFER ACCEPTED</a:t>
          </a:r>
          <a:endParaRPr lang="en-US" sz="1200" b="1" u="none" kern="1200" dirty="0">
            <a:solidFill>
              <a:schemeClr val="bg1"/>
            </a:solidFill>
          </a:endParaRPr>
        </a:p>
      </dsp:txBody>
      <dsp:txXfrm>
        <a:off x="175064" y="0"/>
        <a:ext cx="2400500" cy="453075"/>
      </dsp:txXfrm>
    </dsp:sp>
    <dsp:sp modelId="{63354D9A-E86A-406B-90F6-80438366E77E}">
      <dsp:nvSpPr>
        <dsp:cNvPr id="0" name=""/>
        <dsp:cNvSpPr/>
      </dsp:nvSpPr>
      <dsp:spPr>
        <a:xfrm>
          <a:off x="2145296" y="0"/>
          <a:ext cx="4375258" cy="453075"/>
        </a:xfrm>
        <a:prstGeom prst="chevron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16002" rIns="16002" bIns="16002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b="1" kern="1200" dirty="0">
              <a:solidFill>
                <a:schemeClr val="bg1"/>
              </a:solidFill>
            </a:rPr>
            <a:t>WELCOME &amp; NOTIFICATIONS </a:t>
          </a:r>
          <a:r>
            <a:rPr lang="en-US" sz="1200" b="1" u="none" kern="1200" dirty="0">
              <a:solidFill>
                <a:schemeClr val="bg1"/>
              </a:solidFill>
            </a:rPr>
            <a:t>(PRE DAY 1) </a:t>
          </a:r>
        </a:p>
      </dsp:txBody>
      <dsp:txXfrm>
        <a:off x="2371834" y="0"/>
        <a:ext cx="3922183" cy="453075"/>
      </dsp:txXfrm>
    </dsp:sp>
    <dsp:sp modelId="{6C585D45-2F21-4487-BEF9-65A4D1B08F2D}">
      <dsp:nvSpPr>
        <dsp:cNvPr id="0" name=""/>
        <dsp:cNvSpPr/>
      </dsp:nvSpPr>
      <dsp:spPr>
        <a:xfrm>
          <a:off x="6149961" y="0"/>
          <a:ext cx="3769153" cy="453075"/>
        </a:xfrm>
        <a:prstGeom prst="chevron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16002" rIns="16002" bIns="16002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b="1" kern="1200" dirty="0">
              <a:solidFill>
                <a:schemeClr val="bg1"/>
              </a:solidFill>
            </a:rPr>
            <a:t>EMPLOYEE START </a:t>
          </a:r>
          <a:endParaRPr lang="en-US" sz="1200" b="1" u="none" kern="1200" dirty="0">
            <a:solidFill>
              <a:schemeClr val="bg1"/>
            </a:solidFill>
          </a:endParaRPr>
        </a:p>
      </dsp:txBody>
      <dsp:txXfrm>
        <a:off x="6376499" y="0"/>
        <a:ext cx="3316078" cy="45307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7C3827-AD18-4ACC-BBF9-2553F14DEA93}">
      <dsp:nvSpPr>
        <dsp:cNvPr id="0" name=""/>
        <dsp:cNvSpPr/>
      </dsp:nvSpPr>
      <dsp:spPr>
        <a:xfrm>
          <a:off x="175064" y="0"/>
          <a:ext cx="2513769" cy="453075"/>
        </a:xfrm>
        <a:prstGeom prst="homePlate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6002" rIns="16002" bIns="16002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b="1" kern="1200" dirty="0">
              <a:solidFill>
                <a:schemeClr val="bg1"/>
              </a:solidFill>
            </a:rPr>
            <a:t>OFFER ACCEPTED</a:t>
          </a:r>
          <a:endParaRPr lang="en-US" sz="1200" b="1" u="none" kern="1200" dirty="0">
            <a:solidFill>
              <a:schemeClr val="bg1"/>
            </a:solidFill>
          </a:endParaRPr>
        </a:p>
      </dsp:txBody>
      <dsp:txXfrm>
        <a:off x="175064" y="0"/>
        <a:ext cx="2400500" cy="453075"/>
      </dsp:txXfrm>
    </dsp:sp>
    <dsp:sp modelId="{63354D9A-E86A-406B-90F6-80438366E77E}">
      <dsp:nvSpPr>
        <dsp:cNvPr id="0" name=""/>
        <dsp:cNvSpPr/>
      </dsp:nvSpPr>
      <dsp:spPr>
        <a:xfrm>
          <a:off x="2145296" y="0"/>
          <a:ext cx="4375258" cy="453075"/>
        </a:xfrm>
        <a:prstGeom prst="chevron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16002" rIns="16002" bIns="16002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b="1" kern="1200" dirty="0">
              <a:solidFill>
                <a:schemeClr val="bg1"/>
              </a:solidFill>
            </a:rPr>
            <a:t>WELCOME &amp; NOTIFICATIONS </a:t>
          </a:r>
          <a:r>
            <a:rPr lang="en-US" sz="1200" b="1" u="none" kern="1200" dirty="0">
              <a:solidFill>
                <a:schemeClr val="bg1"/>
              </a:solidFill>
            </a:rPr>
            <a:t>(PRE DAY 1) </a:t>
          </a:r>
        </a:p>
      </dsp:txBody>
      <dsp:txXfrm>
        <a:off x="2371834" y="0"/>
        <a:ext cx="3922183" cy="453075"/>
      </dsp:txXfrm>
    </dsp:sp>
    <dsp:sp modelId="{6C585D45-2F21-4487-BEF9-65A4D1B08F2D}">
      <dsp:nvSpPr>
        <dsp:cNvPr id="0" name=""/>
        <dsp:cNvSpPr/>
      </dsp:nvSpPr>
      <dsp:spPr>
        <a:xfrm>
          <a:off x="6149961" y="0"/>
          <a:ext cx="3769153" cy="453075"/>
        </a:xfrm>
        <a:prstGeom prst="chevron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16002" rIns="16002" bIns="16002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b="1" kern="1200" dirty="0">
              <a:solidFill>
                <a:schemeClr val="bg1"/>
              </a:solidFill>
            </a:rPr>
            <a:t>EMPLOYEE START </a:t>
          </a:r>
          <a:endParaRPr lang="en-US" sz="1200" b="1" u="none" kern="1200" dirty="0">
            <a:solidFill>
              <a:schemeClr val="bg1"/>
            </a:solidFill>
          </a:endParaRPr>
        </a:p>
      </dsp:txBody>
      <dsp:txXfrm>
        <a:off x="6376499" y="0"/>
        <a:ext cx="3316078" cy="45307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7C3827-AD18-4ACC-BBF9-2553F14DEA93}">
      <dsp:nvSpPr>
        <dsp:cNvPr id="0" name=""/>
        <dsp:cNvSpPr/>
      </dsp:nvSpPr>
      <dsp:spPr>
        <a:xfrm>
          <a:off x="175064" y="0"/>
          <a:ext cx="2513769" cy="453075"/>
        </a:xfrm>
        <a:prstGeom prst="homePlate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6002" rIns="16002" bIns="16002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b="1" kern="1200" dirty="0">
              <a:solidFill>
                <a:schemeClr val="bg1"/>
              </a:solidFill>
            </a:rPr>
            <a:t>OFFER ACCEPTED</a:t>
          </a:r>
          <a:endParaRPr lang="en-US" sz="1200" b="1" u="none" kern="1200" dirty="0">
            <a:solidFill>
              <a:schemeClr val="bg1"/>
            </a:solidFill>
          </a:endParaRPr>
        </a:p>
      </dsp:txBody>
      <dsp:txXfrm>
        <a:off x="175064" y="0"/>
        <a:ext cx="2400500" cy="453075"/>
      </dsp:txXfrm>
    </dsp:sp>
    <dsp:sp modelId="{63354D9A-E86A-406B-90F6-80438366E77E}">
      <dsp:nvSpPr>
        <dsp:cNvPr id="0" name=""/>
        <dsp:cNvSpPr/>
      </dsp:nvSpPr>
      <dsp:spPr>
        <a:xfrm>
          <a:off x="2145296" y="0"/>
          <a:ext cx="4375258" cy="453075"/>
        </a:xfrm>
        <a:prstGeom prst="chevron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16002" rIns="16002" bIns="16002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b="1" kern="1200" dirty="0">
              <a:solidFill>
                <a:schemeClr val="bg1"/>
              </a:solidFill>
            </a:rPr>
            <a:t>WELCOME &amp; NOTIFICATIONS </a:t>
          </a:r>
          <a:r>
            <a:rPr lang="en-US" sz="1200" b="1" u="none" kern="1200" dirty="0">
              <a:solidFill>
                <a:schemeClr val="bg1"/>
              </a:solidFill>
            </a:rPr>
            <a:t>(PRE DAY 1) </a:t>
          </a:r>
        </a:p>
      </dsp:txBody>
      <dsp:txXfrm>
        <a:off x="2371834" y="0"/>
        <a:ext cx="3922183" cy="453075"/>
      </dsp:txXfrm>
    </dsp:sp>
    <dsp:sp modelId="{6C585D45-2F21-4487-BEF9-65A4D1B08F2D}">
      <dsp:nvSpPr>
        <dsp:cNvPr id="0" name=""/>
        <dsp:cNvSpPr/>
      </dsp:nvSpPr>
      <dsp:spPr>
        <a:xfrm>
          <a:off x="6149961" y="0"/>
          <a:ext cx="3769153" cy="453075"/>
        </a:xfrm>
        <a:prstGeom prst="chevron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16002" rIns="16002" bIns="16002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b="1" kern="1200" dirty="0">
              <a:solidFill>
                <a:schemeClr val="bg1"/>
              </a:solidFill>
            </a:rPr>
            <a:t>EMPLOYEE START </a:t>
          </a:r>
          <a:endParaRPr lang="en-US" sz="1200" b="1" u="none" kern="1200" dirty="0">
            <a:solidFill>
              <a:schemeClr val="bg1"/>
            </a:solidFill>
          </a:endParaRPr>
        </a:p>
      </dsp:txBody>
      <dsp:txXfrm>
        <a:off x="6376499" y="0"/>
        <a:ext cx="3316078" cy="45307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7C3827-AD18-4ACC-BBF9-2553F14DEA93}">
      <dsp:nvSpPr>
        <dsp:cNvPr id="0" name=""/>
        <dsp:cNvSpPr/>
      </dsp:nvSpPr>
      <dsp:spPr>
        <a:xfrm>
          <a:off x="175064" y="0"/>
          <a:ext cx="2513769" cy="453075"/>
        </a:xfrm>
        <a:prstGeom prst="homePlate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6002" rIns="16002" bIns="16002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b="1" kern="1200" dirty="0">
              <a:solidFill>
                <a:schemeClr val="bg1"/>
              </a:solidFill>
            </a:rPr>
            <a:t>OFFER ACCEPTED</a:t>
          </a:r>
          <a:endParaRPr lang="en-US" sz="1200" b="1" u="none" kern="1200" dirty="0">
            <a:solidFill>
              <a:schemeClr val="bg1"/>
            </a:solidFill>
          </a:endParaRPr>
        </a:p>
      </dsp:txBody>
      <dsp:txXfrm>
        <a:off x="175064" y="0"/>
        <a:ext cx="2400500" cy="453075"/>
      </dsp:txXfrm>
    </dsp:sp>
    <dsp:sp modelId="{63354D9A-E86A-406B-90F6-80438366E77E}">
      <dsp:nvSpPr>
        <dsp:cNvPr id="0" name=""/>
        <dsp:cNvSpPr/>
      </dsp:nvSpPr>
      <dsp:spPr>
        <a:xfrm>
          <a:off x="2145296" y="0"/>
          <a:ext cx="4375258" cy="453075"/>
        </a:xfrm>
        <a:prstGeom prst="chevron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16002" rIns="16002" bIns="16002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b="1" kern="1200" dirty="0">
              <a:solidFill>
                <a:schemeClr val="bg1"/>
              </a:solidFill>
            </a:rPr>
            <a:t>WELCOME &amp; NOTIFICATIONS </a:t>
          </a:r>
          <a:r>
            <a:rPr lang="en-US" sz="1200" b="1" u="none" kern="1200" dirty="0">
              <a:solidFill>
                <a:schemeClr val="bg1"/>
              </a:solidFill>
            </a:rPr>
            <a:t>(PRE DAY 1) </a:t>
          </a:r>
        </a:p>
      </dsp:txBody>
      <dsp:txXfrm>
        <a:off x="2371834" y="0"/>
        <a:ext cx="3922183" cy="453075"/>
      </dsp:txXfrm>
    </dsp:sp>
    <dsp:sp modelId="{6C585D45-2F21-4487-BEF9-65A4D1B08F2D}">
      <dsp:nvSpPr>
        <dsp:cNvPr id="0" name=""/>
        <dsp:cNvSpPr/>
      </dsp:nvSpPr>
      <dsp:spPr>
        <a:xfrm>
          <a:off x="6149961" y="0"/>
          <a:ext cx="3769153" cy="453075"/>
        </a:xfrm>
        <a:prstGeom prst="chevron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16002" rIns="16002" bIns="16002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b="1" kern="1200" dirty="0">
              <a:solidFill>
                <a:schemeClr val="bg1"/>
              </a:solidFill>
            </a:rPr>
            <a:t>EMPLOYEE START </a:t>
          </a:r>
          <a:endParaRPr lang="en-US" sz="1200" b="1" u="none" kern="1200" dirty="0">
            <a:solidFill>
              <a:schemeClr val="bg1"/>
            </a:solidFill>
          </a:endParaRPr>
        </a:p>
      </dsp:txBody>
      <dsp:txXfrm>
        <a:off x="6376499" y="0"/>
        <a:ext cx="3316078" cy="45307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7C3827-AD18-4ACC-BBF9-2553F14DEA93}">
      <dsp:nvSpPr>
        <dsp:cNvPr id="0" name=""/>
        <dsp:cNvSpPr/>
      </dsp:nvSpPr>
      <dsp:spPr>
        <a:xfrm>
          <a:off x="175064" y="0"/>
          <a:ext cx="2513769" cy="453075"/>
        </a:xfrm>
        <a:prstGeom prst="homePlate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6002" rIns="16002" bIns="16002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b="1" kern="1200" dirty="0">
              <a:solidFill>
                <a:schemeClr val="bg1"/>
              </a:solidFill>
            </a:rPr>
            <a:t>OFFER ACCEPTED</a:t>
          </a:r>
          <a:endParaRPr lang="en-US" sz="1200" b="1" u="none" kern="1200" dirty="0">
            <a:solidFill>
              <a:schemeClr val="bg1"/>
            </a:solidFill>
          </a:endParaRPr>
        </a:p>
      </dsp:txBody>
      <dsp:txXfrm>
        <a:off x="175064" y="0"/>
        <a:ext cx="2400500" cy="453075"/>
      </dsp:txXfrm>
    </dsp:sp>
    <dsp:sp modelId="{63354D9A-E86A-406B-90F6-80438366E77E}">
      <dsp:nvSpPr>
        <dsp:cNvPr id="0" name=""/>
        <dsp:cNvSpPr/>
      </dsp:nvSpPr>
      <dsp:spPr>
        <a:xfrm>
          <a:off x="2145296" y="0"/>
          <a:ext cx="4375258" cy="453075"/>
        </a:xfrm>
        <a:prstGeom prst="chevron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16002" rIns="16002" bIns="16002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b="1" kern="1200" dirty="0">
              <a:solidFill>
                <a:schemeClr val="bg1"/>
              </a:solidFill>
            </a:rPr>
            <a:t>WELCOME &amp; NOTIFICATIONS </a:t>
          </a:r>
          <a:r>
            <a:rPr lang="en-US" sz="1200" b="1" u="none" kern="1200" dirty="0">
              <a:solidFill>
                <a:schemeClr val="bg1"/>
              </a:solidFill>
            </a:rPr>
            <a:t>(PRE DAY 1) </a:t>
          </a:r>
        </a:p>
      </dsp:txBody>
      <dsp:txXfrm>
        <a:off x="2371834" y="0"/>
        <a:ext cx="3922183" cy="453075"/>
      </dsp:txXfrm>
    </dsp:sp>
    <dsp:sp modelId="{6C585D45-2F21-4487-BEF9-65A4D1B08F2D}">
      <dsp:nvSpPr>
        <dsp:cNvPr id="0" name=""/>
        <dsp:cNvSpPr/>
      </dsp:nvSpPr>
      <dsp:spPr>
        <a:xfrm>
          <a:off x="6149961" y="0"/>
          <a:ext cx="3769153" cy="453075"/>
        </a:xfrm>
        <a:prstGeom prst="chevron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16002" rIns="16002" bIns="16002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200" b="1" kern="1200" dirty="0">
              <a:solidFill>
                <a:schemeClr val="bg1"/>
              </a:solidFill>
            </a:rPr>
            <a:t>EMPLOYEE START </a:t>
          </a:r>
          <a:endParaRPr lang="en-US" sz="1200" b="1" u="none" kern="1200" dirty="0">
            <a:solidFill>
              <a:schemeClr val="bg1"/>
            </a:solidFill>
          </a:endParaRPr>
        </a:p>
      </dsp:txBody>
      <dsp:txXfrm>
        <a:off x="6376499" y="0"/>
        <a:ext cx="3316078" cy="4530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9F37364-4253-4BC9-BBFD-9C4FDEE23315}" type="datetimeFigureOut">
              <a:rPr lang="en-US" smtClean="0"/>
              <a:t>9/25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42E9F67F-724E-4669-BC51-C8A1C148C33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41733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CEE3E01-E9DA-4092-A27B-6EC7A7214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5838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CEE3E01-E9DA-4092-A27B-6EC7A7214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4E5D5EC-54B3-44D2-BE33-871FC1F84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3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B4A5A04-FA96-457E-BD4F-8D7DE6059F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8724" y="1778000"/>
            <a:ext cx="10445186" cy="2229039"/>
          </a:xfrm>
          <a:prstGeom prst="rect">
            <a:avLst/>
          </a:prstGeom>
        </p:spPr>
        <p:txBody>
          <a:bodyPr vert="horz" lIns="0" anchor="b">
            <a:normAutofit/>
          </a:bodyPr>
          <a:lstStyle>
            <a:lvl1pPr algn="l">
              <a:lnSpc>
                <a:spcPct val="80000"/>
              </a:lnSpc>
              <a:defRPr sz="40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1E63D79D-FA26-4C8B-BB56-793ED849ED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24" y="4090893"/>
            <a:ext cx="10451006" cy="102982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2400" b="0">
                <a:solidFill>
                  <a:schemeClr val="accent5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732730B9-E286-0049-90BA-CE84B84D1D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8724" y="5461870"/>
            <a:ext cx="3200400" cy="365125"/>
          </a:xfrm>
        </p:spPr>
        <p:txBody>
          <a:bodyPr lIns="0">
            <a:normAutofit/>
          </a:bodyPr>
          <a:lstStyle>
            <a:lvl1pPr marL="0" indent="0">
              <a:buNone/>
              <a:defRPr sz="1200" b="0">
                <a:solidFill>
                  <a:schemeClr val="accent5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513850E-D368-6082-2038-319DE050CF5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t="2815" b="2815"/>
          <a:stretch/>
        </p:blipFill>
        <p:spPr>
          <a:xfrm>
            <a:off x="197697" y="376730"/>
            <a:ext cx="3418905" cy="912424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FD4D6C2-6185-7BA6-594A-953C700715A9}"/>
              </a:ext>
            </a:extLst>
          </p:cNvPr>
          <p:cNvCxnSpPr/>
          <p:nvPr userDrawn="1"/>
        </p:nvCxnSpPr>
        <p:spPr>
          <a:xfrm>
            <a:off x="458724" y="4007039"/>
            <a:ext cx="11272416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84194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9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9">
            <a:extLst>
              <a:ext uri="{FF2B5EF4-FFF2-40B4-BE49-F238E27FC236}">
                <a16:creationId xmlns:a16="http://schemas.microsoft.com/office/drawing/2014/main" id="{90EC8A67-C222-1570-FC76-73283A84E7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AC84BFD-C099-B833-4BB0-393D22270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361033A-20F6-9872-733F-FCE006C1245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8724" y="1454911"/>
            <a:ext cx="11274552" cy="4497709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60BF2B5-F244-1ACE-2DE8-E01B0C5DDBEB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FD03754-254E-CF28-E536-ECF19940F3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9B50686-B547-F9DF-784F-B4D3CBB1D516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E677AD99-72CC-0D7F-56C8-4B0389CE02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  |  Month 2023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0565BA-6481-5A4E-BA7A-C990F19C91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1843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CFAF608-3FA7-8C85-363F-0DBBFF44561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52024" y="1458871"/>
            <a:ext cx="5297735" cy="4497709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1B5119-8865-0CF0-6368-C529DACA52E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435542" y="1458871"/>
            <a:ext cx="5277480" cy="4497705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7" name="Title 9">
            <a:extLst>
              <a:ext uri="{FF2B5EF4-FFF2-40B4-BE49-F238E27FC236}">
                <a16:creationId xmlns:a16="http://schemas.microsoft.com/office/drawing/2014/main" id="{2FEC398D-416D-E91C-2CD0-ECEA3A845A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5" y="325588"/>
            <a:ext cx="11254296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64F6A4B8-1230-D302-8F9A-EEB6E13260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3" y="656482"/>
            <a:ext cx="11267675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F158B2A-21F7-FAFF-E17A-3D1FBA429C67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id="{72B7C099-2B1F-2C0A-C5AD-CF8CBDC865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5663A1F-7315-C38D-7E2D-46213DA2DB14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83923292-A7A2-F1DA-3EB8-0D15EF206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  |  Month 2023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0DD75C3-15CA-AA8B-32F3-386DAC2638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9102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B92F2B5-7FD5-3F94-21BE-35C298FA30E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2024" y="1461877"/>
            <a:ext cx="3353839" cy="4497705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D242BDC-FBEB-3449-DF66-AAEEAA458DF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10965" y="1461877"/>
            <a:ext cx="3353839" cy="4497705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ECE8547-A935-0545-AE1A-847685C1805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66050" y="1461877"/>
            <a:ext cx="3353839" cy="4497705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22" name="Title 9">
            <a:extLst>
              <a:ext uri="{FF2B5EF4-FFF2-40B4-BE49-F238E27FC236}">
                <a16:creationId xmlns:a16="http://schemas.microsoft.com/office/drawing/2014/main" id="{ADBFCA2D-CC7B-46C4-23EA-3FDB3823C4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5133CAD0-2DC7-2D3B-2954-0DC4A62F37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586417D-FAF6-F717-1848-5724E0F601E5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1F92F369-7D4C-E641-F055-D88B780E02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5C1A748-22B1-DD1A-E2E0-07FF9CF738A5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35E65C21-D86A-45A4-ABE1-7CD953DF4D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  |  Month 2023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45AEFE18-8C4B-8A33-DFFC-D7AFCAA89C3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995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9">
            <a:extLst>
              <a:ext uri="{FF2B5EF4-FFF2-40B4-BE49-F238E27FC236}">
                <a16:creationId xmlns:a16="http://schemas.microsoft.com/office/drawing/2014/main" id="{C9974485-2D0E-FAEA-D0DB-A49D808D1F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325588"/>
            <a:ext cx="11261165" cy="536415"/>
          </a:xfrm>
          <a:prstGeom prst="rect">
            <a:avLst/>
          </a:prstGeom>
        </p:spPr>
        <p:txBody>
          <a:bodyPr lIns="0" anchor="t"/>
          <a:lstStyle>
            <a:lvl1pPr>
              <a:defRPr sz="2400" b="1" i="0" spc="-50" baseline="0">
                <a:solidFill>
                  <a:schemeClr val="accent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64570818-F557-452A-3488-71F7A2F6FC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024" y="656482"/>
            <a:ext cx="11274552" cy="469900"/>
          </a:xfrm>
        </p:spPr>
        <p:txBody>
          <a:bodyPr lIns="0">
            <a:normAutofit/>
          </a:bodyPr>
          <a:lstStyle>
            <a:lvl1pPr>
              <a:defRPr sz="24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8BE4002-6DAA-423F-C293-AA0F2CF0AE7A}"/>
              </a:ext>
            </a:extLst>
          </p:cNvPr>
          <p:cNvCxnSpPr>
            <a:cxnSpLocks/>
          </p:cNvCxnSpPr>
          <p:nvPr userDrawn="1"/>
        </p:nvCxnSpPr>
        <p:spPr>
          <a:xfrm>
            <a:off x="458724" y="1160675"/>
            <a:ext cx="11274552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7B3A7369-F9CF-7CE0-7888-EA95B952D3C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bg2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A4092C6-FE61-9E75-D143-B0F2F6CE928B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ECDE42AD-82B8-E3CF-30E8-CA2B35DC83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bg2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  |  Month 2023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71D5A74-ED12-A033-4545-B3A67A24F5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9615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Slide Break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B98505-CFE9-94CB-E6AB-503D4256D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82276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B98505-CFE9-94CB-E6AB-503D4256D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9">
            <a:extLst>
              <a:ext uri="{FF2B5EF4-FFF2-40B4-BE49-F238E27FC236}">
                <a16:creationId xmlns:a16="http://schemas.microsoft.com/office/drawing/2014/main" id="{A771E4BF-CECF-5FE2-230C-C09CC46BD0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24" y="447868"/>
            <a:ext cx="11274552" cy="5267121"/>
          </a:xfrm>
          <a:prstGeom prst="rect">
            <a:avLst/>
          </a:prstGeom>
        </p:spPr>
        <p:txBody>
          <a:bodyPr lIns="0" anchor="ctr"/>
          <a:lstStyle>
            <a:lvl1pPr>
              <a:lnSpc>
                <a:spcPct val="80000"/>
              </a:lnSpc>
              <a:defRPr sz="4000" b="1" i="0" spc="-50" baseline="0">
                <a:solidFill>
                  <a:schemeClr val="tx1"/>
                </a:solidFill>
                <a:latin typeface="Gill Sans" panose="020B0502020104020203" pitchFamily="34" charset="-79"/>
                <a:cs typeface="Gill Sans" panose="020B0502020104020203" pitchFamily="34" charset="-79"/>
              </a:defRPr>
            </a:lvl1pPr>
          </a:lstStyle>
          <a:p>
            <a:r>
              <a:rPr lang="en-US"/>
              <a:t>CLICK TO EDIT BREAK SLID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0ECA7860-4A01-FCE9-D4AA-90E07D8E3F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046" y="6114979"/>
            <a:ext cx="457201" cy="457200"/>
          </a:xfrm>
          <a:prstGeom prst="rect">
            <a:avLst/>
          </a:prstGeom>
        </p:spPr>
        <p:txBody>
          <a:bodyPr lIns="0" anchor="ctr"/>
          <a:lstStyle>
            <a:lvl1pPr>
              <a:defRPr sz="1400" spc="-50" baseline="0">
                <a:solidFill>
                  <a:schemeClr val="tx1"/>
                </a:solidFill>
                <a:latin typeface="Candara" panose="020E0502030303020204" pitchFamily="34" charset="0"/>
              </a:defRPr>
            </a:lvl1pPr>
          </a:lstStyle>
          <a:p>
            <a:fld id="{F0D6E494-49D5-4155-9E52-425437BF7D9A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62880A3-9F60-5AA4-0905-83D714193A66}"/>
              </a:ext>
            </a:extLst>
          </p:cNvPr>
          <p:cNvCxnSpPr>
            <a:cxnSpLocks/>
          </p:cNvCxnSpPr>
          <p:nvPr userDrawn="1"/>
        </p:nvCxnSpPr>
        <p:spPr>
          <a:xfrm>
            <a:off x="418214" y="6116779"/>
            <a:ext cx="1131506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2E9186F8-3821-0675-CCC4-A192E27ED0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3369" y="6114979"/>
            <a:ext cx="10080259" cy="457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marL="0" algn="l" defTabSz="914400" rtl="0" eaLnBrk="1" latinLnBrk="0" hangingPunct="1">
              <a:defRPr lang="en-US" sz="1200" kern="1200" spc="-50" baseline="0" smtClean="0">
                <a:solidFill>
                  <a:schemeClr val="tx1"/>
                </a:solidFill>
                <a:latin typeface="Candara" panose="020E05020303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  |  Month 2023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69786D8-F6F4-F7E4-9BAF-C7A91A7B9BD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11403258" y="6163677"/>
            <a:ext cx="394833" cy="36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4190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4669A-3965-4574-AE08-023D5B9A75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0903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4669A-3965-4574-AE08-023D5B9A75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A21BD4-7ED6-49C2-8F9D-399A4343D23A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4A7151B9-1C44-6246-8C23-5044ABE740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2775" y="6221369"/>
            <a:ext cx="3114739" cy="4620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l"/>
            <a:r>
              <a:rPr lang="en-US" dirty="0"/>
              <a:t>Confidential  |  Month 2023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C4788BE5-9378-D14A-9E2E-5551132ED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776" y="361456"/>
            <a:ext cx="11172467" cy="831194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3D021ED-74DD-514E-A630-410E504345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2775" y="1370073"/>
            <a:ext cx="11172468" cy="4643854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770192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4" r:id="rId2"/>
    <p:sldLayoutId id="2147483712" r:id="rId3"/>
    <p:sldLayoutId id="2147483705" r:id="rId4"/>
    <p:sldLayoutId id="2147483706" r:id="rId5"/>
    <p:sldLayoutId id="2147483702" r:id="rId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i="0" kern="1200">
          <a:solidFill>
            <a:schemeClr val="accent1"/>
          </a:solidFill>
          <a:latin typeface="Franklin Gothic Heavy" panose="020B0603020102020204" pitchFamily="34" charset="0"/>
          <a:ea typeface="Tahoma" panose="020B0604030504040204" pitchFamily="34" charset="0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4"/>
        </a:buClr>
        <a:buFont typeface="Arial" panose="020B0604020202020204" pitchFamily="34" charset="0"/>
        <a:buNone/>
        <a:defRPr sz="2000" b="1" i="0" kern="1200" spc="-50" baseline="0">
          <a:solidFill>
            <a:schemeClr val="tx2"/>
          </a:solidFill>
          <a:latin typeface="Candara" panose="020E0502030303020204" pitchFamily="34" charset="0"/>
          <a:ea typeface="Tahoma" panose="020B0604030504040204" pitchFamily="34" charset="0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None/>
        <a:tabLst/>
        <a:defRPr sz="2000" b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2pPr>
      <a:lvl3pPr marL="354013" indent="-3540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3pPr>
      <a:lvl4pPr marL="695325" indent="-3413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SzPct val="100000"/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4pPr>
      <a:lvl5pPr marL="1036638" indent="-341313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+mn-lt"/>
          <a:ea typeface="Tahoma" panose="020B0604030504040204" pitchFamily="34" charset="0"/>
          <a:cs typeface="Arial" panose="020B0604020202020204" pitchFamily="34" charset="0"/>
        </a:defRPr>
      </a:lvl5pPr>
      <a:lvl6pPr marL="1422400" indent="-342900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•"/>
        <a:tabLst/>
        <a:defRPr sz="2000" b="0" i="0" kern="1200" spc="-50" baseline="0">
          <a:solidFill>
            <a:schemeClr val="tx2"/>
          </a:solidFill>
          <a:latin typeface="Candara" panose="020E0502030303020204" pitchFamily="34" charset="0"/>
          <a:ea typeface="Tahoma" panose="020B0604030504040204" pitchFamily="34" charset="0"/>
          <a:cs typeface="Tahoma" panose="020B0604030504040204" pitchFamily="34" charset="0"/>
        </a:defRPr>
      </a:lvl6pPr>
      <a:lvl7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/>
        <a:buNone/>
        <a:tabLst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populationhealthpartners.sharepoint.com/:b:/r/sites/Metsera/Shared%20Documents/02.%20Human%20Program/02_Ready%20for%20Design/02_Organization/_Onboarding/Mgr%20Toolkit%20-%20IT%20Equipment%20Onboarding%20form_230915_02.pdf?csf=1&amp;web=1&amp;e=4AaZe5" TargetMode="External"/><Relationship Id="rId13" Type="http://schemas.openxmlformats.org/officeDocument/2006/relationships/diagramColors" Target="../diagrams/colors1.xml"/><Relationship Id="rId3" Type="http://schemas.openxmlformats.org/officeDocument/2006/relationships/hyperlink" Target="https://populationhealthpartners.sharepoint.com/:w:/r/sites/Metsera/Shared%20Documents/02.%20Human%20Program/03_Ready%20for%20Publishing/02_Organization%201%207%2070/Onboarding/Mgr%20Toolkit%20-%20Onboarding%20Plan%20%26%20Checklist_03.docx?d=w0b61f93b34e94d89b0db5871a0df8039&amp;csf=1&amp;web=1&amp;e=BmfdkZ" TargetMode="External"/><Relationship Id="rId7" Type="http://schemas.openxmlformats.org/officeDocument/2006/relationships/hyperlink" Target="https://populationhealthpartners.sharepoint.com/:b:/r/sites/Metsera/Shared%20Documents/02.%20Human%20Program/02_Ready%20for%20Design/02_Organization/_Onboarding/Welcome%20to%20Metsera_230828_16.pdf?csf=1&amp;web=1&amp;e=7tj7n4" TargetMode="External"/><Relationship Id="rId12" Type="http://schemas.openxmlformats.org/officeDocument/2006/relationships/diagramQuickStyle" Target="../diagrams/quickStyle1.xml"/><Relationship Id="rId2" Type="http://schemas.openxmlformats.org/officeDocument/2006/relationships/hyperlink" Target="https://populationhealthpartners.sharepoint.com/:w:/r/sites/Metsera/Shared%20Documents/02.%20Human%20Program/01_Ready%20for%20Design/02_Organization/_Onboarding/HS-%20Upcoming%20new%20hire%20notification%20message.docx?d=w59ac3a222c3545dc8b8df637bd82a79e&amp;csf=1&amp;web=1&amp;e=DA6W8f" TargetMode="Externa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populationhealthpartners.sharepoint.com/:w:/r/sites/Metsera/Shared%20Documents/Human%20Program/Organization%201%207%2070/Metsera%20Working/Onboarding/Ready%20for%20Design/Metsera_Introduction_230628_01.docx?d=we47003746dbc4f01adf5ac208c5960d6&amp;csf=1&amp;web=1&amp;e=FmzDPF" TargetMode="External"/><Relationship Id="rId11" Type="http://schemas.openxmlformats.org/officeDocument/2006/relationships/diagramLayout" Target="../diagrams/layout1.xml"/><Relationship Id="rId5" Type="http://schemas.openxmlformats.org/officeDocument/2006/relationships/hyperlink" Target="https://populationhealthpartners.sharepoint.com/:w:/r/sites/Metsera/Shared%20Documents/Human%20Program/Organization%201%207%2070/Metsera%20Working/Onboarding/Ready%20for%20Design/Onboarding%20Plan%20%26%20Checklist_for%20Manager.docx?d=w349abd8ea4454e45857fa8bce32be031&amp;csf=1&amp;web=1&amp;e=XZdczW" TargetMode="External"/><Relationship Id="rId10" Type="http://schemas.openxmlformats.org/officeDocument/2006/relationships/diagramData" Target="../diagrams/data1.xml"/><Relationship Id="rId4" Type="http://schemas.openxmlformats.org/officeDocument/2006/relationships/hyperlink" Target="https://populationhealthpartners.sharepoint.com/:b:/r/sites/Metsera/Shared%20Documents/02.%20Human%20Program/Organization%201%207%2070/Metsera%20Working/Onboarding/Ready%20for%20Design/Ready%20for%20Review/Mgr%20Toolkit%20-%20IT%20Equipment%20Onboarding%20form.pdf?csf=1&amp;web=1&amp;e=Iqvkba" TargetMode="External"/><Relationship Id="rId9" Type="http://schemas.openxmlformats.org/officeDocument/2006/relationships/hyperlink" Target="https://populationhealthpartners.sharepoint.com/:p:/r/sites/Metsera/Shared%20Documents/02.%20Human%20Program/04_Live/AboutMe_230807_01.pptx?d=w2d15be67b74846efae92d1502811955f&amp;csf=1&amp;web=1&amp;e=kpB6gu" TargetMode="External"/><Relationship Id="rId14" Type="http://schemas.microsoft.com/office/2007/relationships/diagramDrawing" Target="../diagrams/drawing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hyperlink" Target="https://populationhealthpartners.sharepoint.com/:w:/r/sites/Metsera/Shared%20Documents/Human%20Program/Organization%201%207%2070/Metsera%20Working/Onboarding/Ready%20for%20Design/Onboarding%20Plan%20%26%20Checklist_for%20Manager.docx?d=w349abd8ea4454e45857fa8bce32be031&amp;csf=1&amp;web=1&amp;e=XZdczW" TargetMode="External"/><Relationship Id="rId7" Type="http://schemas.openxmlformats.org/officeDocument/2006/relationships/diagramData" Target="../diagrams/data2.xml"/><Relationship Id="rId2" Type="http://schemas.openxmlformats.org/officeDocument/2006/relationships/hyperlink" Target="https://populationhealthpartners.sharepoint.com/:w:/r/sites/Metsera/Shared%20Documents/02.%20Human%20Program/01_Ready%20for%20Design/02_Organization/_Onboarding/HS-%20Upcoming%20new%20hire%20notification%20message.docx?d=w59ac3a222c3545dc8b8df637bd82a79e&amp;csf=1&amp;web=1&amp;e=DA6W8f" TargetMode="Externa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populationhealthpartners.sharepoint.com/:w:/r/sites/Metsera/Shared%20Documents/Human%20Program/Organization%201%207%2070/Metsera%20Working/Onboarding/Professional%20Bio%20and%20About%20Me%20.docx?d=wf866aa611f3f46bbae95fb7bbdbed4c2&amp;csf=1&amp;web=1&amp;e=AA568o" TargetMode="External"/><Relationship Id="rId11" Type="http://schemas.microsoft.com/office/2007/relationships/diagramDrawing" Target="../diagrams/drawing2.xml"/><Relationship Id="rId5" Type="http://schemas.openxmlformats.org/officeDocument/2006/relationships/hyperlink" Target="https://populationhealthpartners.sharepoint.com/:w:/r/sites/Metsera/Shared%20Documents/Human%20Program/Organization%201%207%2070/Metsera%20Working/Onboarding/Ready%20for%20Design/Metsera_Introduction_230628_01.docx?d=we47003746dbc4f01adf5ac208c5960d6&amp;csf=1&amp;web=1&amp;e=FmzDPF" TargetMode="External"/><Relationship Id="rId10" Type="http://schemas.openxmlformats.org/officeDocument/2006/relationships/diagramColors" Target="../diagrams/colors2.xml"/><Relationship Id="rId4" Type="http://schemas.openxmlformats.org/officeDocument/2006/relationships/hyperlink" Target="https://populationhealthpartners.sharepoint.com/:b:/r/sites/Metsera/Shared%20Documents/02.%20Human%20Program/Organization%201%207%2070/Metsera%20Working/Onboarding/Ready%20for%20Design/Ready%20for%20Review/Mgr%20Toolkit%20-%20IT%20Equipment%20Onboarding%20form.pdf?csf=1&amp;web=1&amp;e=Iqvkba" TargetMode="External"/><Relationship Id="rId9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hyperlink" Target="https://populationhealthpartners.sharepoint.com/:w:/r/sites/Metsera/Shared%20Documents/Human%20Program/Organization%201%207%2070/Metsera%20Working/Onboarding/Ready%20for%20Design/Onboarding%20Plan%20%26%20Checklist_for%20Manager.docx?d=w349abd8ea4454e45857fa8bce32be031&amp;csf=1&amp;web=1&amp;e=XZdczW" TargetMode="External"/><Relationship Id="rId7" Type="http://schemas.openxmlformats.org/officeDocument/2006/relationships/diagramData" Target="../diagrams/data3.xml"/><Relationship Id="rId2" Type="http://schemas.openxmlformats.org/officeDocument/2006/relationships/hyperlink" Target="https://populationhealthpartners.sharepoint.com/:w:/r/sites/Metsera/Shared%20Documents/02.%20Human%20Program/01_Ready%20for%20Design/02_Organization/_Onboarding/HS-%20Upcoming%20new%20hire%20notification%20message.docx?d=w59ac3a222c3545dc8b8df637bd82a79e&amp;csf=1&amp;web=1&amp;e=DA6W8f" TargetMode="Externa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populationhealthpartners.sharepoint.com/:w:/r/sites/Metsera/Shared%20Documents/Human%20Program/Organization%201%207%2070/Metsera%20Working/Onboarding/Professional%20Bio%20and%20About%20Me%20.docx?d=wf866aa611f3f46bbae95fb7bbdbed4c2&amp;csf=1&amp;web=1&amp;e=AA568o" TargetMode="External"/><Relationship Id="rId11" Type="http://schemas.microsoft.com/office/2007/relationships/diagramDrawing" Target="../diagrams/drawing3.xml"/><Relationship Id="rId5" Type="http://schemas.openxmlformats.org/officeDocument/2006/relationships/hyperlink" Target="https://populationhealthpartners.sharepoint.com/:w:/r/sites/Metsera/Shared%20Documents/Human%20Program/Organization%201%207%2070/Metsera%20Working/Onboarding/Ready%20for%20Design/Metsera_Introduction_230628_01.docx?d=we47003746dbc4f01adf5ac208c5960d6&amp;csf=1&amp;web=1&amp;e=FmzDPF" TargetMode="External"/><Relationship Id="rId10" Type="http://schemas.openxmlformats.org/officeDocument/2006/relationships/diagramColors" Target="../diagrams/colors3.xml"/><Relationship Id="rId4" Type="http://schemas.openxmlformats.org/officeDocument/2006/relationships/hyperlink" Target="https://populationhealthpartners.sharepoint.com/:b:/r/sites/Metsera/Shared%20Documents/02.%20Human%20Program/Organization%201%207%2070/Metsera%20Working/Onboarding/Ready%20for%20Design/Ready%20for%20Review/Mgr%20Toolkit%20-%20IT%20Equipment%20Onboarding%20form.pdf?csf=1&amp;web=1&amp;e=Iqvkba" TargetMode="External"/><Relationship Id="rId9" Type="http://schemas.openxmlformats.org/officeDocument/2006/relationships/diagramQuickStyle" Target="../diagrams/quickStyl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hyperlink" Target="https://populationhealthpartners.sharepoint.com/:w:/r/sites/Metsera/Shared%20Documents/Human%20Program/Organization%201%207%2070/Metsera%20Working/Onboarding/Ready%20for%20Design/Onboarding%20Plan%20%26%20Checklist_for%20Manager.docx?d=w349abd8ea4454e45857fa8bce32be031&amp;csf=1&amp;web=1&amp;e=XZdczW" TargetMode="External"/><Relationship Id="rId7" Type="http://schemas.openxmlformats.org/officeDocument/2006/relationships/diagramData" Target="../diagrams/data4.xml"/><Relationship Id="rId2" Type="http://schemas.openxmlformats.org/officeDocument/2006/relationships/hyperlink" Target="https://populationhealthpartners.sharepoint.com/:w:/r/sites/Metsera/Shared%20Documents/02.%20Human%20Program/01_Ready%20for%20Design/02_Organization/_Onboarding/HS-%20Upcoming%20new%20hire%20notification%20message.docx?d=w59ac3a222c3545dc8b8df637bd82a79e&amp;csf=1&amp;web=1&amp;e=DA6W8f" TargetMode="Externa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populationhealthpartners.sharepoint.com/:w:/r/sites/Metsera/Shared%20Documents/Human%20Program/Organization%201%207%2070/Metsera%20Working/Onboarding/Professional%20Bio%20and%20About%20Me%20.docx?d=wf866aa611f3f46bbae95fb7bbdbed4c2&amp;csf=1&amp;web=1&amp;e=AA568o" TargetMode="External"/><Relationship Id="rId11" Type="http://schemas.microsoft.com/office/2007/relationships/diagramDrawing" Target="../diagrams/drawing4.xml"/><Relationship Id="rId5" Type="http://schemas.openxmlformats.org/officeDocument/2006/relationships/hyperlink" Target="https://populationhealthpartners.sharepoint.com/:w:/r/sites/Metsera/Shared%20Documents/Human%20Program/Organization%201%207%2070/Metsera%20Working/Onboarding/Ready%20for%20Design/Metsera_Introduction_230628_01.docx?d=we47003746dbc4f01adf5ac208c5960d6&amp;csf=1&amp;web=1&amp;e=FmzDPF" TargetMode="External"/><Relationship Id="rId10" Type="http://schemas.openxmlformats.org/officeDocument/2006/relationships/diagramColors" Target="../diagrams/colors4.xml"/><Relationship Id="rId4" Type="http://schemas.openxmlformats.org/officeDocument/2006/relationships/hyperlink" Target="https://populationhealthpartners.sharepoint.com/:b:/r/sites/Metsera/Shared%20Documents/02.%20Human%20Program/Organization%201%207%2070/Metsera%20Working/Onboarding/Ready%20for%20Design/Ready%20for%20Review/Mgr%20Toolkit%20-%20IT%20Equipment%20Onboarding%20form.pdf?csf=1&amp;web=1&amp;e=Iqvkba" TargetMode="External"/><Relationship Id="rId9" Type="http://schemas.openxmlformats.org/officeDocument/2006/relationships/diagramQuickStyle" Target="../diagrams/quickStyl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hyperlink" Target="https://populationhealthpartners.sharepoint.com/:w:/r/sites/Metsera/Shared%20Documents/Human%20Program/Organization%201%207%2070/Metsera%20Working/Onboarding/Ready%20for%20Design/Onboarding%20Plan%20%26%20Checklist_for%20Manager.docx?d=w349abd8ea4454e45857fa8bce32be031&amp;csf=1&amp;web=1&amp;e=XZdczW" TargetMode="External"/><Relationship Id="rId7" Type="http://schemas.openxmlformats.org/officeDocument/2006/relationships/diagramData" Target="../diagrams/data5.xml"/><Relationship Id="rId2" Type="http://schemas.openxmlformats.org/officeDocument/2006/relationships/hyperlink" Target="https://populationhealthpartners.sharepoint.com/:w:/r/sites/Metsera/Shared%20Documents/02.%20Human%20Program/01_Ready%20for%20Design/02_Organization/_Onboarding/HS-%20Upcoming%20new%20hire%20notification%20message.docx?d=w59ac3a222c3545dc8b8df637bd82a79e&amp;csf=1&amp;web=1&amp;e=DA6W8f" TargetMode="Externa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populationhealthpartners.sharepoint.com/:w:/r/sites/Metsera/Shared%20Documents/Human%20Program/Organization%201%207%2070/Metsera%20Working/Onboarding/Professional%20Bio%20and%20About%20Me%20.docx?d=wf866aa611f3f46bbae95fb7bbdbed4c2&amp;csf=1&amp;web=1&amp;e=AA568o" TargetMode="External"/><Relationship Id="rId11" Type="http://schemas.microsoft.com/office/2007/relationships/diagramDrawing" Target="../diagrams/drawing5.xml"/><Relationship Id="rId5" Type="http://schemas.openxmlformats.org/officeDocument/2006/relationships/hyperlink" Target="https://populationhealthpartners.sharepoint.com/:w:/r/sites/Metsera/Shared%20Documents/Human%20Program/Organization%201%207%2070/Metsera%20Working/Onboarding/Ready%20for%20Design/Metsera_Introduction_230628_01.docx?d=we47003746dbc4f01adf5ac208c5960d6&amp;csf=1&amp;web=1&amp;e=FmzDPF" TargetMode="External"/><Relationship Id="rId10" Type="http://schemas.openxmlformats.org/officeDocument/2006/relationships/diagramColors" Target="../diagrams/colors5.xml"/><Relationship Id="rId4" Type="http://schemas.openxmlformats.org/officeDocument/2006/relationships/hyperlink" Target="https://populationhealthpartners.sharepoint.com/:b:/r/sites/Metsera/Shared%20Documents/02.%20Human%20Program/Organization%201%207%2070/Metsera%20Working/Onboarding/Ready%20for%20Design/Ready%20for%20Review/Mgr%20Toolkit%20-%20IT%20Equipment%20Onboarding%20form.pdf?csf=1&amp;web=1&amp;e=Iqvkba" TargetMode="External"/><Relationship Id="rId9" Type="http://schemas.openxmlformats.org/officeDocument/2006/relationships/diagramQuickStyle" Target="../diagrams/quickStyl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304A84F-5042-9727-9CAB-01D9104F2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2633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6" imgH="526" progId="TCLayout.ActiveDocument.1">
                  <p:embed/>
                </p:oleObj>
              </mc:Choice>
              <mc:Fallback>
                <p:oleObj name="think-cell Slide" r:id="rId3" imgW="526" imgH="5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304A84F-5042-9727-9CAB-01D9104F2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6397F97-21EB-CADB-F2F6-200492F86C0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nboarding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5A67340-D0A3-25CE-9657-8884BA6276D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D2- Workflow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A5389E-D67B-CDD3-67F2-5E01528391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May, 2023</a:t>
            </a:r>
          </a:p>
        </p:txBody>
      </p:sp>
    </p:spTree>
    <p:extLst>
      <p:ext uri="{BB962C8B-B14F-4D97-AF65-F5344CB8AC3E}">
        <p14:creationId xmlns:p14="http://schemas.microsoft.com/office/powerpoint/2010/main" val="19271064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628044-F02A-BD80-7DFE-0B9597D6A7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ONBOARDING WORKFLOW- FT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C9750A-C970-E369-6E57-6E06E68B6E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imelin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0086FF-C339-730B-A109-2E5E3EE1AB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D6E494-49D5-4155-9E52-425437BF7D9A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84C76A-4D04-B179-6A91-51AE07B94B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nfidential  |  Month 2023</a:t>
            </a:r>
          </a:p>
        </p:txBody>
      </p:sp>
      <p:graphicFrame>
        <p:nvGraphicFramePr>
          <p:cNvPr id="8" name="Table 6">
            <a:extLst>
              <a:ext uri="{FF2B5EF4-FFF2-40B4-BE49-F238E27FC236}">
                <a16:creationId xmlns:a16="http://schemas.microsoft.com/office/drawing/2014/main" id="{E8AC67C0-D840-6867-AB45-D89C62DBA2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0940431"/>
              </p:ext>
            </p:extLst>
          </p:nvPr>
        </p:nvGraphicFramePr>
        <p:xfrm>
          <a:off x="524418" y="1571820"/>
          <a:ext cx="11274552" cy="42856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6761">
                  <a:extLst>
                    <a:ext uri="{9D8B030D-6E8A-4147-A177-3AD203B41FA5}">
                      <a16:colId xmlns:a16="http://schemas.microsoft.com/office/drawing/2014/main" val="847296188"/>
                    </a:ext>
                  </a:extLst>
                </a:gridCol>
                <a:gridCol w="1941678">
                  <a:extLst>
                    <a:ext uri="{9D8B030D-6E8A-4147-A177-3AD203B41FA5}">
                      <a16:colId xmlns:a16="http://schemas.microsoft.com/office/drawing/2014/main" val="4090425028"/>
                    </a:ext>
                  </a:extLst>
                </a:gridCol>
                <a:gridCol w="3993863">
                  <a:extLst>
                    <a:ext uri="{9D8B030D-6E8A-4147-A177-3AD203B41FA5}">
                      <a16:colId xmlns:a16="http://schemas.microsoft.com/office/drawing/2014/main" val="2011556842"/>
                    </a:ext>
                  </a:extLst>
                </a:gridCol>
                <a:gridCol w="3752250">
                  <a:extLst>
                    <a:ext uri="{9D8B030D-6E8A-4147-A177-3AD203B41FA5}">
                      <a16:colId xmlns:a16="http://schemas.microsoft.com/office/drawing/2014/main" val="1843873966"/>
                    </a:ext>
                  </a:extLst>
                </a:gridCol>
              </a:tblGrid>
              <a:tr h="260524"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ROLE</a:t>
                      </a:r>
                    </a:p>
                  </a:txBody>
                  <a:tcPr marL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US" sz="800" b="0" dirty="0">
                        <a:solidFill>
                          <a:schemeClr val="bg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="0" dirty="0">
                        <a:solidFill>
                          <a:schemeClr val="bg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b="0" dirty="0">
                        <a:solidFill>
                          <a:schemeClr val="bg2"/>
                        </a:solidFill>
                        <a:latin typeface="Candara" panose="020E0502030303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9723730"/>
                  </a:ext>
                </a:extLst>
              </a:tr>
              <a:tr h="117235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u="none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</a:rPr>
                        <a:t>Human Strategy/Recruiter</a:t>
                      </a:r>
                    </a:p>
                  </a:txBody>
                  <a:tcPr marL="0"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E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u="none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Full Time Employee onboarding: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Receives signed offer letter via DocuSign from candidate following all salary negotiations.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US" sz="800" b="0" u="none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EB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Send out Welcome emails to New Hire, Consultant / Advisor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Message from Clive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Message from HS (attachments: Metsera Welcome, IT Introduction) </a:t>
                      </a:r>
                    </a:p>
                    <a:p>
                      <a:pPr marL="0" lvl="0" indent="0"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endParaRPr lang="en-US" sz="800" b="0" u="none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  <a:p>
                      <a:pPr marL="0" lvl="0" indent="0"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Send out Internal emails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Stakeholder </a:t>
                      </a: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2"/>
                        </a:rPr>
                        <a:t>email</a:t>
                      </a: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 sent to HM, IT, Finance, Quality, EAs, HS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Email to HM w/attachments:</a:t>
                      </a:r>
                    </a:p>
                    <a:p>
                      <a:pPr marL="628650" lvl="1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Onboarding Plan and Checklist</a:t>
                      </a:r>
                    </a:p>
                    <a:p>
                      <a:pPr marL="628650" lvl="1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Onboarding Workflow</a:t>
                      </a:r>
                    </a:p>
                    <a:p>
                      <a:pPr marL="628650" lvl="1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Metsera Welcom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="0" u="none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Enter new-hire-data into HRIS to initiate onboarding. </a:t>
                      </a: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EB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80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</a:rPr>
                        <a:t>HS Orientation with New Hire</a:t>
                      </a: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9378465"/>
                  </a:ext>
                </a:extLst>
              </a:tr>
              <a:tr h="6398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</a:rPr>
                        <a:t>Hiring Manager</a:t>
                      </a:r>
                    </a:p>
                  </a:txBody>
                  <a:tcPr marL="0"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800" b="1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onsultant / Advisor onboarding: </a:t>
                      </a: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Provide Human Strategy with: name, job title, start date [if applicable], email address). </a:t>
                      </a: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u="none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nitiate and Complete Onboarding Plan</a:t>
                      </a:r>
                      <a:r>
                        <a:rPr lang="en-US" sz="800" b="1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</a:t>
                      </a: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&amp; </a:t>
                      </a:r>
                      <a:r>
                        <a:rPr lang="en-US" sz="800" b="1" u="none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hecklist</a:t>
                      </a:r>
                      <a:endParaRPr lang="en-US" sz="800" b="0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800" b="0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IT Prep (Checklist item) </a:t>
                      </a:r>
                      <a:b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</a:b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omplete and submit </a:t>
                      </a: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T Request form</a:t>
                      </a: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 </a:t>
                      </a:r>
                      <a:endParaRPr lang="en-US" sz="800" b="0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eview and Transfer Onboarding Plan &amp; Checklis</a:t>
                      </a: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t to New Hire </a:t>
                      </a:r>
                      <a:b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</a:br>
                      <a:endParaRPr lang="en-US" sz="800" b="0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5672288"/>
                  </a:ext>
                </a:extLst>
              </a:tr>
              <a:tr h="3879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</a:rPr>
                        <a:t>IT </a:t>
                      </a:r>
                      <a:r>
                        <a:rPr lang="en-US" sz="1200" b="0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</a:rPr>
                        <a:t>(</a:t>
                      </a:r>
                      <a:r>
                        <a:rPr lang="en-US" sz="1200" b="0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Eisner Amper)</a:t>
                      </a:r>
                      <a:endParaRPr lang="en-US" sz="1200" b="0" dirty="0">
                        <a:solidFill>
                          <a:schemeClr val="accent1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L="0"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Prepares equipment and systems access for new hire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4328304"/>
                  </a:ext>
                </a:extLst>
              </a:tr>
              <a:tr h="880405"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Full Time Employee</a:t>
                      </a:r>
                    </a:p>
                  </a:txBody>
                  <a:tcPr marL="0"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US" sz="800" b="0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800" b="1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Receives emails:</a:t>
                      </a: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First Contact: Custom </a:t>
                      </a:r>
                      <a:r>
                        <a:rPr lang="en-US" sz="800" b="1" u="sng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Welcome email from Clive and schedule call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Second Contact:</a:t>
                      </a:r>
                      <a:r>
                        <a:rPr lang="en-US" sz="800" b="0" u="none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 </a:t>
                      </a:r>
                      <a:r>
                        <a:rPr lang="en-US" sz="800" b="1" u="sng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7"/>
                        </a:rPr>
                        <a:t>Welcome</a:t>
                      </a:r>
                      <a:r>
                        <a:rPr lang="en-US" sz="800" b="1" u="sng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 Onboarding email from HS w/ </a:t>
                      </a:r>
                      <a:r>
                        <a:rPr lang="en-US" sz="800" b="1" u="sng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8"/>
                        </a:rPr>
                        <a:t>IT instructions</a:t>
                      </a:r>
                      <a:endParaRPr lang="en-US" sz="800" b="1" u="sng" dirty="0">
                        <a:solidFill>
                          <a:schemeClr val="accent5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Third Contact: iSolved account creation email 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are Package – TBD</a:t>
                      </a: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80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</a:rPr>
                        <a:t>Review and work on Onboarding Plan &amp; Checklist</a:t>
                      </a:r>
                      <a:endParaRPr lang="en-US" sz="800" b="1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omplete role required training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Access to training systems: IT Security, Compliance Wire, etc</a:t>
                      </a: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1307220"/>
                  </a:ext>
                </a:extLst>
              </a:tr>
              <a:tr h="4776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onsultant / Advisor</a:t>
                      </a:r>
                    </a:p>
                  </a:txBody>
                  <a:tcPr marL="0"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Receives (automated) emails:</a:t>
                      </a: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ustom </a:t>
                      </a:r>
                      <a:r>
                        <a:rPr lang="en-US" sz="800" b="1" u="sng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Welcome email from Clive</a:t>
                      </a: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800" b="1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Upload to SharePoint:</a:t>
                      </a:r>
                      <a:endParaRPr lang="en-US" sz="800" b="1" dirty="0">
                        <a:solidFill>
                          <a:schemeClr val="accent5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  <a:hlinkClick r:id="rId6">
                          <a:extLst>
                            <a:ext uri="{A12FA001-AC4F-418D-AE19-62706E023703}">
                              <ahyp:hlinkClr xmlns:ahyp="http://schemas.microsoft.com/office/drawing/2018/hyperlinkcolor" val="tx"/>
                            </a:ext>
                          </a:extLst>
                        </a:hlinkClick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u="sng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9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bout Me/Professional</a:t>
                      </a:r>
                      <a:r>
                        <a:rPr lang="en-US" sz="800" b="1" u="sng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 Bio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29868"/>
                  </a:ext>
                </a:extLst>
              </a:tr>
            </a:tbl>
          </a:graphicData>
        </a:graphic>
      </p:graphicFrame>
      <p:graphicFrame>
        <p:nvGraphicFramePr>
          <p:cNvPr id="7" name="Content Placeholder 5">
            <a:extLst>
              <a:ext uri="{FF2B5EF4-FFF2-40B4-BE49-F238E27FC236}">
                <a16:creationId xmlns:a16="http://schemas.microsoft.com/office/drawing/2014/main" id="{7A7D38A4-0E84-2AFE-179E-C29A6E57E0F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46613923"/>
              </p:ext>
            </p:extLst>
          </p:nvPr>
        </p:nvGraphicFramePr>
        <p:xfrm>
          <a:off x="1897035" y="1383890"/>
          <a:ext cx="9921235" cy="453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  <p:extLst>
      <p:ext uri="{BB962C8B-B14F-4D97-AF65-F5344CB8AC3E}">
        <p14:creationId xmlns:p14="http://schemas.microsoft.com/office/powerpoint/2010/main" val="27611034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628044-F02A-BD80-7DFE-0B9597D6A7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ONBOARDING WORKFLOW- FT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C9750A-C970-E369-6E57-6E06E68B6E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imelin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0086FF-C339-730B-A109-2E5E3EE1AB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D6E494-49D5-4155-9E52-425437BF7D9A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84C76A-4D04-B179-6A91-51AE07B94B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nfidential  |  Month 2023</a:t>
            </a:r>
          </a:p>
        </p:txBody>
      </p:sp>
      <p:graphicFrame>
        <p:nvGraphicFramePr>
          <p:cNvPr id="8" name="Table 6">
            <a:extLst>
              <a:ext uri="{FF2B5EF4-FFF2-40B4-BE49-F238E27FC236}">
                <a16:creationId xmlns:a16="http://schemas.microsoft.com/office/drawing/2014/main" id="{E8AC67C0-D840-6867-AB45-D89C62DBA2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0296074"/>
              </p:ext>
            </p:extLst>
          </p:nvPr>
        </p:nvGraphicFramePr>
        <p:xfrm>
          <a:off x="524418" y="1571820"/>
          <a:ext cx="11274552" cy="42856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6761">
                  <a:extLst>
                    <a:ext uri="{9D8B030D-6E8A-4147-A177-3AD203B41FA5}">
                      <a16:colId xmlns:a16="http://schemas.microsoft.com/office/drawing/2014/main" val="847296188"/>
                    </a:ext>
                  </a:extLst>
                </a:gridCol>
                <a:gridCol w="1941678">
                  <a:extLst>
                    <a:ext uri="{9D8B030D-6E8A-4147-A177-3AD203B41FA5}">
                      <a16:colId xmlns:a16="http://schemas.microsoft.com/office/drawing/2014/main" val="4090425028"/>
                    </a:ext>
                  </a:extLst>
                </a:gridCol>
                <a:gridCol w="3993863">
                  <a:extLst>
                    <a:ext uri="{9D8B030D-6E8A-4147-A177-3AD203B41FA5}">
                      <a16:colId xmlns:a16="http://schemas.microsoft.com/office/drawing/2014/main" val="2011556842"/>
                    </a:ext>
                  </a:extLst>
                </a:gridCol>
                <a:gridCol w="3752250">
                  <a:extLst>
                    <a:ext uri="{9D8B030D-6E8A-4147-A177-3AD203B41FA5}">
                      <a16:colId xmlns:a16="http://schemas.microsoft.com/office/drawing/2014/main" val="1843873966"/>
                    </a:ext>
                  </a:extLst>
                </a:gridCol>
              </a:tblGrid>
              <a:tr h="260524"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ROLE</a:t>
                      </a:r>
                    </a:p>
                  </a:txBody>
                  <a:tcPr marL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US" sz="800" b="0" dirty="0">
                        <a:solidFill>
                          <a:schemeClr val="bg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="0" dirty="0">
                        <a:solidFill>
                          <a:schemeClr val="bg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b="0" dirty="0">
                        <a:solidFill>
                          <a:schemeClr val="bg2"/>
                        </a:solidFill>
                        <a:latin typeface="Candara" panose="020E0502030303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9723730"/>
                  </a:ext>
                </a:extLst>
              </a:tr>
              <a:tr h="117235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u="none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</a:rPr>
                        <a:t>Human Strategy/Recruiter</a:t>
                      </a:r>
                    </a:p>
                  </a:txBody>
                  <a:tcPr marL="0"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Receives signed offer letter via DocuSign from candidate following all salary negotiations.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US" sz="800" b="0" u="none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Send out Welcome emails to New Hire, Consultant / Advisor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Message from Clive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Message from HS (attachments: Metsera Welcome, IT Introduction) </a:t>
                      </a:r>
                    </a:p>
                    <a:p>
                      <a:pPr marL="0" lvl="0" indent="0"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endParaRPr lang="en-US" sz="800" b="0" u="none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  <a:p>
                      <a:pPr marL="0" lvl="0" indent="0"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Send out Internal emails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Stakeholder </a:t>
                      </a: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2"/>
                        </a:rPr>
                        <a:t>email</a:t>
                      </a: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 sent to HM, IT, Finance, Quality, EAs, HS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Email to HM w/attachments:</a:t>
                      </a:r>
                    </a:p>
                    <a:p>
                      <a:pPr marL="628650" lvl="1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Onboarding Plan and Checklist</a:t>
                      </a:r>
                    </a:p>
                    <a:p>
                      <a:pPr marL="628650" lvl="1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Onboarding Workflow</a:t>
                      </a:r>
                    </a:p>
                    <a:p>
                      <a:pPr marL="628650" lvl="1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Metsera Welcom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="0" u="none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Enter new-hire-data into HRIS to initiate onboarding. </a:t>
                      </a: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80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</a:rPr>
                        <a:t>HS Orientation with New Hire</a:t>
                      </a: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378465"/>
                  </a:ext>
                </a:extLst>
              </a:tr>
              <a:tr h="6398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</a:rPr>
                        <a:t>Hiring Manager</a:t>
                      </a:r>
                    </a:p>
                  </a:txBody>
                  <a:tcPr marL="0"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EB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800" b="1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onsultant / Advisor onboarding: </a:t>
                      </a: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Provide Human Strategy with: name, job title, start date [if applicable], email address). </a:t>
                      </a: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E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u="none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nitiate and Complete Onboarding Plan</a:t>
                      </a:r>
                      <a:r>
                        <a:rPr lang="en-US" sz="800" b="1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</a:t>
                      </a: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&amp; </a:t>
                      </a:r>
                      <a:r>
                        <a:rPr lang="en-US" sz="800" b="1" u="none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hecklist</a:t>
                      </a:r>
                      <a:endParaRPr lang="en-US" sz="800" b="0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800" b="0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IT Prep (Checklist item) </a:t>
                      </a:r>
                      <a:b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</a:b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omplete and submit </a:t>
                      </a: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T Request form</a:t>
                      </a: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 </a:t>
                      </a:r>
                      <a:endParaRPr lang="en-US" sz="800" b="0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E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eview and Transfer Onboarding Plan &amp; Checklis</a:t>
                      </a: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t to New Hire </a:t>
                      </a:r>
                      <a:b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</a:br>
                      <a:endParaRPr lang="en-US" sz="800" b="0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5672288"/>
                  </a:ext>
                </a:extLst>
              </a:tr>
              <a:tr h="3879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</a:rPr>
                        <a:t>IT </a:t>
                      </a:r>
                      <a:r>
                        <a:rPr lang="en-US" sz="1200" b="0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</a:rPr>
                        <a:t>(</a:t>
                      </a:r>
                      <a:r>
                        <a:rPr lang="en-US" sz="1200" b="0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Eisner Amper)</a:t>
                      </a:r>
                      <a:endParaRPr lang="en-US" sz="1200" b="0" dirty="0">
                        <a:solidFill>
                          <a:schemeClr val="accent1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L="0"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Prepares equipment and systems access for new hire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4328304"/>
                  </a:ext>
                </a:extLst>
              </a:tr>
              <a:tr h="880405"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Full Time Employee</a:t>
                      </a:r>
                    </a:p>
                  </a:txBody>
                  <a:tcPr marL="0"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US" sz="800" b="0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800" b="1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Receives emails:</a:t>
                      </a: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First Contact: Custom </a:t>
                      </a:r>
                      <a:r>
                        <a:rPr lang="en-US" sz="800" b="1" u="sng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Welcome email from Clive and schedule call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Second Contact:</a:t>
                      </a:r>
                      <a:r>
                        <a:rPr lang="en-US" sz="800" b="0" u="none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 </a:t>
                      </a:r>
                      <a:r>
                        <a:rPr lang="en-US" sz="800" b="1" u="sng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Welcome Onboarding email from HS w/ IT instructions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Third Contact: iSolved account creation email 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are Package – TBD</a:t>
                      </a: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80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</a:rPr>
                        <a:t>Review and work on Onboarding Plan &amp; Checklist</a:t>
                      </a:r>
                      <a:endParaRPr lang="en-US" sz="800" b="1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omplete role required training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Access to training systems: IT Security, Compliance Wire, etc</a:t>
                      </a: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1307220"/>
                  </a:ext>
                </a:extLst>
              </a:tr>
              <a:tr h="4776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onsultant / Advisor</a:t>
                      </a:r>
                    </a:p>
                  </a:txBody>
                  <a:tcPr marL="0"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Receives (automated) emails:</a:t>
                      </a: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ustom </a:t>
                      </a:r>
                      <a:r>
                        <a:rPr lang="en-US" sz="800" b="1" u="sng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Welcome email from Clive</a:t>
                      </a: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800" b="1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Upload to SharePoint:</a:t>
                      </a:r>
                      <a:endParaRPr lang="en-US" sz="800" b="1" dirty="0">
                        <a:solidFill>
                          <a:schemeClr val="accent5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  <a:hlinkClick r:id="rId5">
                          <a:extLst>
                            <a:ext uri="{A12FA001-AC4F-418D-AE19-62706E023703}">
                              <ahyp:hlinkClr xmlns:ahyp="http://schemas.microsoft.com/office/drawing/2018/hyperlinkcolor" val="tx"/>
                            </a:ext>
                          </a:extLst>
                        </a:hlinkClick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u="sng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bout Me/Professional</a:t>
                      </a:r>
                      <a:r>
                        <a:rPr lang="en-US" sz="800" b="1" u="sng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 Bio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29868"/>
                  </a:ext>
                </a:extLst>
              </a:tr>
            </a:tbl>
          </a:graphicData>
        </a:graphic>
      </p:graphicFrame>
      <p:graphicFrame>
        <p:nvGraphicFramePr>
          <p:cNvPr id="7" name="Content Placeholder 5">
            <a:extLst>
              <a:ext uri="{FF2B5EF4-FFF2-40B4-BE49-F238E27FC236}">
                <a16:creationId xmlns:a16="http://schemas.microsoft.com/office/drawing/2014/main" id="{7A7D38A4-0E84-2AFE-179E-C29A6E57E0FC}"/>
              </a:ext>
            </a:extLst>
          </p:cNvPr>
          <p:cNvGraphicFramePr>
            <a:graphicFrameLocks/>
          </p:cNvGraphicFramePr>
          <p:nvPr/>
        </p:nvGraphicFramePr>
        <p:xfrm>
          <a:off x="1897035" y="1383890"/>
          <a:ext cx="9921235" cy="453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030630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628044-F02A-BD80-7DFE-0B9597D6A7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ONBOARDING WORKFLOW- FT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C9750A-C970-E369-6E57-6E06E68B6E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imelin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0086FF-C339-730B-A109-2E5E3EE1AB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D6E494-49D5-4155-9E52-425437BF7D9A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84C76A-4D04-B179-6A91-51AE07B94B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nfidential  |  Month 2023</a:t>
            </a:r>
          </a:p>
        </p:txBody>
      </p:sp>
      <p:graphicFrame>
        <p:nvGraphicFramePr>
          <p:cNvPr id="8" name="Table 6">
            <a:extLst>
              <a:ext uri="{FF2B5EF4-FFF2-40B4-BE49-F238E27FC236}">
                <a16:creationId xmlns:a16="http://schemas.microsoft.com/office/drawing/2014/main" id="{E8AC67C0-D840-6867-AB45-D89C62DBA2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9203283"/>
              </p:ext>
            </p:extLst>
          </p:nvPr>
        </p:nvGraphicFramePr>
        <p:xfrm>
          <a:off x="524418" y="1571820"/>
          <a:ext cx="11274552" cy="42856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6761">
                  <a:extLst>
                    <a:ext uri="{9D8B030D-6E8A-4147-A177-3AD203B41FA5}">
                      <a16:colId xmlns:a16="http://schemas.microsoft.com/office/drawing/2014/main" val="847296188"/>
                    </a:ext>
                  </a:extLst>
                </a:gridCol>
                <a:gridCol w="1941678">
                  <a:extLst>
                    <a:ext uri="{9D8B030D-6E8A-4147-A177-3AD203B41FA5}">
                      <a16:colId xmlns:a16="http://schemas.microsoft.com/office/drawing/2014/main" val="4090425028"/>
                    </a:ext>
                  </a:extLst>
                </a:gridCol>
                <a:gridCol w="3993863">
                  <a:extLst>
                    <a:ext uri="{9D8B030D-6E8A-4147-A177-3AD203B41FA5}">
                      <a16:colId xmlns:a16="http://schemas.microsoft.com/office/drawing/2014/main" val="2011556842"/>
                    </a:ext>
                  </a:extLst>
                </a:gridCol>
                <a:gridCol w="3752250">
                  <a:extLst>
                    <a:ext uri="{9D8B030D-6E8A-4147-A177-3AD203B41FA5}">
                      <a16:colId xmlns:a16="http://schemas.microsoft.com/office/drawing/2014/main" val="1843873966"/>
                    </a:ext>
                  </a:extLst>
                </a:gridCol>
              </a:tblGrid>
              <a:tr h="260524"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ROLE</a:t>
                      </a:r>
                    </a:p>
                  </a:txBody>
                  <a:tcPr marL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US" sz="800" b="0" dirty="0">
                        <a:solidFill>
                          <a:schemeClr val="bg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="0" dirty="0">
                        <a:solidFill>
                          <a:schemeClr val="bg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b="0" dirty="0">
                        <a:solidFill>
                          <a:schemeClr val="bg2"/>
                        </a:solidFill>
                        <a:latin typeface="Candara" panose="020E0502030303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9723730"/>
                  </a:ext>
                </a:extLst>
              </a:tr>
              <a:tr h="117235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u="none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</a:rPr>
                        <a:t>Human Strategy/Recruiter</a:t>
                      </a:r>
                    </a:p>
                  </a:txBody>
                  <a:tcPr marL="0"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Receives signed offer letter via DocuSign from candidate following all salary negotiations.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US" sz="800" b="0" u="none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Send out Welcome emails to New Hire, Consultant / Advisor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Message from Clive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Message from HS (attachments: Metsera Welcome, IT Introduction) </a:t>
                      </a:r>
                    </a:p>
                    <a:p>
                      <a:pPr marL="0" lvl="0" indent="0"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endParaRPr lang="en-US" sz="800" b="0" u="none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  <a:p>
                      <a:pPr marL="0" lvl="0" indent="0"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Send out Internal emails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Stakeholder </a:t>
                      </a: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2"/>
                        </a:rPr>
                        <a:t>email</a:t>
                      </a: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 sent to HM, IT, Finance, Quality, EAs, HS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Email to HM w/attachments:</a:t>
                      </a:r>
                    </a:p>
                    <a:p>
                      <a:pPr marL="628650" lvl="1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Onboarding Plan and Checklist</a:t>
                      </a:r>
                    </a:p>
                    <a:p>
                      <a:pPr marL="628650" lvl="1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Onboarding Workflow</a:t>
                      </a:r>
                    </a:p>
                    <a:p>
                      <a:pPr marL="628650" lvl="1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Metsera Welcom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="0" u="none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Enter new-hire-data into HRIS to initiate onboarding. </a:t>
                      </a: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80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</a:rPr>
                        <a:t>HS Orientation with New Hire</a:t>
                      </a: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378465"/>
                  </a:ext>
                </a:extLst>
              </a:tr>
              <a:tr h="6398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</a:rPr>
                        <a:t>Hiring Manager</a:t>
                      </a:r>
                    </a:p>
                  </a:txBody>
                  <a:tcPr marL="0"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800" b="1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onsultant / Advisor onboarding: </a:t>
                      </a: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Provide Human Strategy with: name, job title, start date [if applicable], email address). </a:t>
                      </a: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u="none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nitiate and Complete Onboarding Plan</a:t>
                      </a:r>
                      <a:r>
                        <a:rPr lang="en-US" sz="800" b="1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</a:t>
                      </a: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&amp; </a:t>
                      </a:r>
                      <a:r>
                        <a:rPr lang="en-US" sz="800" b="1" u="none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hecklist</a:t>
                      </a:r>
                      <a:endParaRPr lang="en-US" sz="800" b="0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800" b="0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IT Prep (Checklist item) </a:t>
                      </a:r>
                      <a:b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</a:b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omplete and submit </a:t>
                      </a: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T Request form</a:t>
                      </a: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 </a:t>
                      </a:r>
                      <a:endParaRPr lang="en-US" sz="800" b="0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eview and Transfer Onboarding Plan &amp; Checklis</a:t>
                      </a: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t to New Hire </a:t>
                      </a:r>
                      <a:b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</a:br>
                      <a:endParaRPr lang="en-US" sz="800" b="0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5672288"/>
                  </a:ext>
                </a:extLst>
              </a:tr>
              <a:tr h="3879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</a:rPr>
                        <a:t>IT </a:t>
                      </a:r>
                      <a:r>
                        <a:rPr lang="en-US" sz="1200" b="0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</a:rPr>
                        <a:t>(</a:t>
                      </a:r>
                      <a:r>
                        <a:rPr lang="en-US" sz="1200" b="0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Eisner Amper)</a:t>
                      </a:r>
                      <a:endParaRPr lang="en-US" sz="1200" b="0" dirty="0">
                        <a:solidFill>
                          <a:schemeClr val="accent1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L="0"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EB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E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Prepares equipment and systems access for new hire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EB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4328304"/>
                  </a:ext>
                </a:extLst>
              </a:tr>
              <a:tr h="880405"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Full Time Employee</a:t>
                      </a:r>
                    </a:p>
                  </a:txBody>
                  <a:tcPr marL="0"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US" sz="800" b="0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800" b="1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Receives emails:</a:t>
                      </a: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First Contact: Custom </a:t>
                      </a:r>
                      <a:r>
                        <a:rPr lang="en-US" sz="800" b="1" u="sng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Welcome email from Clive and schedule call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Second Contact:</a:t>
                      </a:r>
                      <a:r>
                        <a:rPr lang="en-US" sz="800" b="0" u="none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 </a:t>
                      </a:r>
                      <a:r>
                        <a:rPr lang="en-US" sz="800" b="1" u="sng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Welcome Onboarding email from HS w/ IT instructions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Third Contact: iSolved account creation email 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are Package – TBD</a:t>
                      </a: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80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</a:rPr>
                        <a:t>Review and work on Onboarding Plan &amp; Checklist</a:t>
                      </a:r>
                      <a:endParaRPr lang="en-US" sz="800" b="1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omplete role required training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Access to training systems: IT Security, Compliance Wire, etc</a:t>
                      </a: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1307220"/>
                  </a:ext>
                </a:extLst>
              </a:tr>
              <a:tr h="4776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onsultant / Advisor</a:t>
                      </a:r>
                    </a:p>
                  </a:txBody>
                  <a:tcPr marL="0"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Receives (automated) emails:</a:t>
                      </a: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ustom </a:t>
                      </a:r>
                      <a:r>
                        <a:rPr lang="en-US" sz="800" b="1" u="sng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Welcome email from Clive</a:t>
                      </a: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800" b="1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Upload to SharePoint:</a:t>
                      </a:r>
                      <a:endParaRPr lang="en-US" sz="800" b="1" dirty="0">
                        <a:solidFill>
                          <a:schemeClr val="accent5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  <a:hlinkClick r:id="rId5">
                          <a:extLst>
                            <a:ext uri="{A12FA001-AC4F-418D-AE19-62706E023703}">
                              <ahyp:hlinkClr xmlns:ahyp="http://schemas.microsoft.com/office/drawing/2018/hyperlinkcolor" val="tx"/>
                            </a:ext>
                          </a:extLst>
                        </a:hlinkClick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u="sng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bout Me/Professional</a:t>
                      </a:r>
                      <a:r>
                        <a:rPr lang="en-US" sz="800" b="1" u="sng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 Bio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29868"/>
                  </a:ext>
                </a:extLst>
              </a:tr>
            </a:tbl>
          </a:graphicData>
        </a:graphic>
      </p:graphicFrame>
      <p:graphicFrame>
        <p:nvGraphicFramePr>
          <p:cNvPr id="7" name="Content Placeholder 5">
            <a:extLst>
              <a:ext uri="{FF2B5EF4-FFF2-40B4-BE49-F238E27FC236}">
                <a16:creationId xmlns:a16="http://schemas.microsoft.com/office/drawing/2014/main" id="{7A7D38A4-0E84-2AFE-179E-C29A6E57E0FC}"/>
              </a:ext>
            </a:extLst>
          </p:cNvPr>
          <p:cNvGraphicFramePr>
            <a:graphicFrameLocks/>
          </p:cNvGraphicFramePr>
          <p:nvPr/>
        </p:nvGraphicFramePr>
        <p:xfrm>
          <a:off x="1897035" y="1383890"/>
          <a:ext cx="9921235" cy="453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1207603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628044-F02A-BD80-7DFE-0B9597D6A7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ONBOARDING WORKFLOW- FT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C9750A-C970-E369-6E57-6E06E68B6E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imelin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0086FF-C339-730B-A109-2E5E3EE1AB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D6E494-49D5-4155-9E52-425437BF7D9A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84C76A-4D04-B179-6A91-51AE07B94B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nfidential  |  Month 2023</a:t>
            </a:r>
          </a:p>
        </p:txBody>
      </p:sp>
      <p:graphicFrame>
        <p:nvGraphicFramePr>
          <p:cNvPr id="8" name="Table 6">
            <a:extLst>
              <a:ext uri="{FF2B5EF4-FFF2-40B4-BE49-F238E27FC236}">
                <a16:creationId xmlns:a16="http://schemas.microsoft.com/office/drawing/2014/main" id="{E8AC67C0-D840-6867-AB45-D89C62DBA2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7125472"/>
              </p:ext>
            </p:extLst>
          </p:nvPr>
        </p:nvGraphicFramePr>
        <p:xfrm>
          <a:off x="524418" y="1571820"/>
          <a:ext cx="11274552" cy="42856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6761">
                  <a:extLst>
                    <a:ext uri="{9D8B030D-6E8A-4147-A177-3AD203B41FA5}">
                      <a16:colId xmlns:a16="http://schemas.microsoft.com/office/drawing/2014/main" val="847296188"/>
                    </a:ext>
                  </a:extLst>
                </a:gridCol>
                <a:gridCol w="1941678">
                  <a:extLst>
                    <a:ext uri="{9D8B030D-6E8A-4147-A177-3AD203B41FA5}">
                      <a16:colId xmlns:a16="http://schemas.microsoft.com/office/drawing/2014/main" val="4090425028"/>
                    </a:ext>
                  </a:extLst>
                </a:gridCol>
                <a:gridCol w="3993863">
                  <a:extLst>
                    <a:ext uri="{9D8B030D-6E8A-4147-A177-3AD203B41FA5}">
                      <a16:colId xmlns:a16="http://schemas.microsoft.com/office/drawing/2014/main" val="2011556842"/>
                    </a:ext>
                  </a:extLst>
                </a:gridCol>
                <a:gridCol w="3752250">
                  <a:extLst>
                    <a:ext uri="{9D8B030D-6E8A-4147-A177-3AD203B41FA5}">
                      <a16:colId xmlns:a16="http://schemas.microsoft.com/office/drawing/2014/main" val="1843873966"/>
                    </a:ext>
                  </a:extLst>
                </a:gridCol>
              </a:tblGrid>
              <a:tr h="260524"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ROLE</a:t>
                      </a:r>
                    </a:p>
                  </a:txBody>
                  <a:tcPr marL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US" sz="800" b="0" dirty="0">
                        <a:solidFill>
                          <a:schemeClr val="bg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="0" dirty="0">
                        <a:solidFill>
                          <a:schemeClr val="bg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b="0" dirty="0">
                        <a:solidFill>
                          <a:schemeClr val="bg2"/>
                        </a:solidFill>
                        <a:latin typeface="Candara" panose="020E0502030303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9723730"/>
                  </a:ext>
                </a:extLst>
              </a:tr>
              <a:tr h="117235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u="none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</a:rPr>
                        <a:t>Human Strategy/Recruiter</a:t>
                      </a:r>
                    </a:p>
                  </a:txBody>
                  <a:tcPr marL="0"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Receives signed offer letter via DocuSign from candidate following all salary negotiations.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US" sz="800" b="0" u="none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Send out Welcome emails to New Hire, Consultant / Advisor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Message from Clive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Message from HS (attachments: Metsera Welcome, IT Introduction) </a:t>
                      </a:r>
                    </a:p>
                    <a:p>
                      <a:pPr marL="0" lvl="0" indent="0"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endParaRPr lang="en-US" sz="800" b="0" u="none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  <a:p>
                      <a:pPr marL="0" lvl="0" indent="0"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Send out Internal emails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Stakeholder </a:t>
                      </a: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2"/>
                        </a:rPr>
                        <a:t>email</a:t>
                      </a: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 sent to HM, IT, Finance, Quality, EAs, HS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Email to HM w/attachments:</a:t>
                      </a:r>
                    </a:p>
                    <a:p>
                      <a:pPr marL="628650" lvl="1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Onboarding Plan and Checklist</a:t>
                      </a:r>
                    </a:p>
                    <a:p>
                      <a:pPr marL="628650" lvl="1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Onboarding Workflow</a:t>
                      </a:r>
                    </a:p>
                    <a:p>
                      <a:pPr marL="628650" lvl="1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Metsera Welcom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="0" u="none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Enter new-hire-data into HRIS to initiate onboarding. </a:t>
                      </a: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80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</a:rPr>
                        <a:t>HS Orientation with New Hire</a:t>
                      </a: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378465"/>
                  </a:ext>
                </a:extLst>
              </a:tr>
              <a:tr h="6398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</a:rPr>
                        <a:t>Hiring Manager</a:t>
                      </a:r>
                    </a:p>
                  </a:txBody>
                  <a:tcPr marL="0"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800" b="1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onsultant / Advisor onboarding: </a:t>
                      </a: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Provide Human Strategy with: name, job title, start date [if applicable], email address). </a:t>
                      </a: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u="none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nitiate and Complete Onboarding Plan</a:t>
                      </a:r>
                      <a:r>
                        <a:rPr lang="en-US" sz="800" b="1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</a:t>
                      </a: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&amp; </a:t>
                      </a:r>
                      <a:r>
                        <a:rPr lang="en-US" sz="800" b="1" u="none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hecklist</a:t>
                      </a:r>
                      <a:endParaRPr lang="en-US" sz="800" b="0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800" b="0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IT Prep (Checklist item) </a:t>
                      </a:r>
                      <a:b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</a:b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omplete and submit </a:t>
                      </a: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T Request form</a:t>
                      </a: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 </a:t>
                      </a:r>
                      <a:endParaRPr lang="en-US" sz="800" b="0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eview and Transfer Onboarding Plan &amp; Checklis</a:t>
                      </a: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t to New Hire </a:t>
                      </a:r>
                      <a:b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</a:br>
                      <a:endParaRPr lang="en-US" sz="800" b="0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5672288"/>
                  </a:ext>
                </a:extLst>
              </a:tr>
              <a:tr h="3879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</a:rPr>
                        <a:t>IT </a:t>
                      </a:r>
                      <a:r>
                        <a:rPr lang="en-US" sz="1200" b="0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</a:rPr>
                        <a:t>(</a:t>
                      </a:r>
                      <a:r>
                        <a:rPr lang="en-US" sz="1200" b="0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Eisner Amper)</a:t>
                      </a:r>
                      <a:endParaRPr lang="en-US" sz="1200" b="0" dirty="0">
                        <a:solidFill>
                          <a:schemeClr val="accent1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L="0"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Prepares equipment and systems access for new hire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4328304"/>
                  </a:ext>
                </a:extLst>
              </a:tr>
              <a:tr h="880405"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Full Time Employee</a:t>
                      </a:r>
                    </a:p>
                  </a:txBody>
                  <a:tcPr marL="0"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EB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US" sz="800" b="0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EB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800" b="1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Receives emails:</a:t>
                      </a: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First Contact: Custom </a:t>
                      </a:r>
                      <a:r>
                        <a:rPr lang="en-US" sz="800" b="1" u="sng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Welcome email from Clive and schedule call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Second Contact:</a:t>
                      </a:r>
                      <a:r>
                        <a:rPr lang="en-US" sz="800" b="0" u="none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 </a:t>
                      </a:r>
                      <a:r>
                        <a:rPr lang="en-US" sz="800" b="1" u="sng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Welcome Onboarding email from HS w/ IT instructions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Third Contact: iSolved account creation email 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are Package – TBD</a:t>
                      </a: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EB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80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</a:rPr>
                        <a:t>Review and work on Onboarding Plan &amp; Checklist</a:t>
                      </a:r>
                      <a:endParaRPr lang="en-US" sz="800" b="1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omplete role required training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Access to training systems: IT Security, Compliance Wire, etc</a:t>
                      </a: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307220"/>
                  </a:ext>
                </a:extLst>
              </a:tr>
              <a:tr h="4776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onsultant / Advisor</a:t>
                      </a:r>
                    </a:p>
                  </a:txBody>
                  <a:tcPr marL="0"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Receives (automated) emails:</a:t>
                      </a: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ustom </a:t>
                      </a:r>
                      <a:r>
                        <a:rPr lang="en-US" sz="800" b="1" u="sng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Welcome email from Clive</a:t>
                      </a: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800" b="1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Upload to SharePoint:</a:t>
                      </a:r>
                      <a:endParaRPr lang="en-US" sz="800" b="1" dirty="0">
                        <a:solidFill>
                          <a:schemeClr val="accent5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  <a:hlinkClick r:id="rId5">
                          <a:extLst>
                            <a:ext uri="{A12FA001-AC4F-418D-AE19-62706E023703}">
                              <ahyp:hlinkClr xmlns:ahyp="http://schemas.microsoft.com/office/drawing/2018/hyperlinkcolor" val="tx"/>
                            </a:ext>
                          </a:extLst>
                        </a:hlinkClick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u="sng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bout Me/Professional</a:t>
                      </a:r>
                      <a:r>
                        <a:rPr lang="en-US" sz="800" b="1" u="sng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 Bio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829868"/>
                  </a:ext>
                </a:extLst>
              </a:tr>
            </a:tbl>
          </a:graphicData>
        </a:graphic>
      </p:graphicFrame>
      <p:graphicFrame>
        <p:nvGraphicFramePr>
          <p:cNvPr id="7" name="Content Placeholder 5">
            <a:extLst>
              <a:ext uri="{FF2B5EF4-FFF2-40B4-BE49-F238E27FC236}">
                <a16:creationId xmlns:a16="http://schemas.microsoft.com/office/drawing/2014/main" id="{7A7D38A4-0E84-2AFE-179E-C29A6E57E0FC}"/>
              </a:ext>
            </a:extLst>
          </p:cNvPr>
          <p:cNvGraphicFramePr>
            <a:graphicFrameLocks/>
          </p:cNvGraphicFramePr>
          <p:nvPr/>
        </p:nvGraphicFramePr>
        <p:xfrm>
          <a:off x="1897035" y="1383890"/>
          <a:ext cx="9921235" cy="453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4272085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628044-F02A-BD80-7DFE-0B9597D6A7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ONBOARDING WORKFLOW- FT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C9750A-C970-E369-6E57-6E06E68B6E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imelin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0086FF-C339-730B-A109-2E5E3EE1AB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D6E494-49D5-4155-9E52-425437BF7D9A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84C76A-4D04-B179-6A91-51AE07B94B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nfidential  |  Month 2023</a:t>
            </a:r>
          </a:p>
        </p:txBody>
      </p:sp>
      <p:graphicFrame>
        <p:nvGraphicFramePr>
          <p:cNvPr id="8" name="Table 6">
            <a:extLst>
              <a:ext uri="{FF2B5EF4-FFF2-40B4-BE49-F238E27FC236}">
                <a16:creationId xmlns:a16="http://schemas.microsoft.com/office/drawing/2014/main" id="{E8AC67C0-D840-6867-AB45-D89C62DBA2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3561559"/>
              </p:ext>
            </p:extLst>
          </p:nvPr>
        </p:nvGraphicFramePr>
        <p:xfrm>
          <a:off x="524418" y="1571820"/>
          <a:ext cx="11274552" cy="42856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6761">
                  <a:extLst>
                    <a:ext uri="{9D8B030D-6E8A-4147-A177-3AD203B41FA5}">
                      <a16:colId xmlns:a16="http://schemas.microsoft.com/office/drawing/2014/main" val="847296188"/>
                    </a:ext>
                  </a:extLst>
                </a:gridCol>
                <a:gridCol w="1941678">
                  <a:extLst>
                    <a:ext uri="{9D8B030D-6E8A-4147-A177-3AD203B41FA5}">
                      <a16:colId xmlns:a16="http://schemas.microsoft.com/office/drawing/2014/main" val="4090425028"/>
                    </a:ext>
                  </a:extLst>
                </a:gridCol>
                <a:gridCol w="3993863">
                  <a:extLst>
                    <a:ext uri="{9D8B030D-6E8A-4147-A177-3AD203B41FA5}">
                      <a16:colId xmlns:a16="http://schemas.microsoft.com/office/drawing/2014/main" val="2011556842"/>
                    </a:ext>
                  </a:extLst>
                </a:gridCol>
                <a:gridCol w="3752250">
                  <a:extLst>
                    <a:ext uri="{9D8B030D-6E8A-4147-A177-3AD203B41FA5}">
                      <a16:colId xmlns:a16="http://schemas.microsoft.com/office/drawing/2014/main" val="1843873966"/>
                    </a:ext>
                  </a:extLst>
                </a:gridCol>
              </a:tblGrid>
              <a:tr h="260524"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ROLE</a:t>
                      </a:r>
                    </a:p>
                  </a:txBody>
                  <a:tcPr marL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US" sz="800" b="0" dirty="0">
                        <a:solidFill>
                          <a:schemeClr val="bg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="0" dirty="0">
                        <a:solidFill>
                          <a:schemeClr val="bg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b="0" dirty="0">
                        <a:solidFill>
                          <a:schemeClr val="bg2"/>
                        </a:solidFill>
                        <a:latin typeface="Candara" panose="020E0502030303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9723730"/>
                  </a:ext>
                </a:extLst>
              </a:tr>
              <a:tr h="117235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u="none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</a:rPr>
                        <a:t>Human Strategy/Recruiter</a:t>
                      </a:r>
                    </a:p>
                  </a:txBody>
                  <a:tcPr marL="0"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Receives signed offer letter via DocuSign from candidate following all salary negotiations.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US" sz="800" b="0" u="none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Send out Welcome emails to New Hire, Consultant / Advisor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Message from Clive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Message from HS (attachments: Metsera Welcome, IT Introduction) </a:t>
                      </a:r>
                    </a:p>
                    <a:p>
                      <a:pPr marL="0" lvl="0" indent="0"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endParaRPr lang="en-US" sz="800" b="0" u="none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  <a:p>
                      <a:pPr marL="0" lvl="0" indent="0"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Send out Internal emails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Stakeholder </a:t>
                      </a: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2"/>
                        </a:rPr>
                        <a:t>email</a:t>
                      </a: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 sent to HM, IT, Finance, Quality, EAs, HS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Email to HM w/attachments:</a:t>
                      </a:r>
                    </a:p>
                    <a:p>
                      <a:pPr marL="628650" lvl="1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Onboarding Plan and Checklist</a:t>
                      </a:r>
                    </a:p>
                    <a:p>
                      <a:pPr marL="628650" lvl="1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Onboarding Workflow</a:t>
                      </a:r>
                    </a:p>
                    <a:p>
                      <a:pPr marL="628650" lvl="1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Metsera Welcom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="0" u="none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Enter new-hire-data into HRIS to initiate onboarding. </a:t>
                      </a: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80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</a:rPr>
                        <a:t>HS Orientation with New Hire</a:t>
                      </a: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378465"/>
                  </a:ext>
                </a:extLst>
              </a:tr>
              <a:tr h="6398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</a:rPr>
                        <a:t>Hiring Manager</a:t>
                      </a:r>
                    </a:p>
                  </a:txBody>
                  <a:tcPr marL="0"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800" b="1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onsultant / Advisor onboarding: </a:t>
                      </a: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Provide Human Strategy with: name, job title, start date [if applicable], email address). </a:t>
                      </a: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u="none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nitiate and Complete Onboarding Plan</a:t>
                      </a:r>
                      <a:r>
                        <a:rPr lang="en-US" sz="800" b="1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</a:t>
                      </a:r>
                      <a:r>
                        <a:rPr lang="en-US" sz="800" b="0" u="none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&amp; </a:t>
                      </a:r>
                      <a:r>
                        <a:rPr lang="en-US" sz="800" b="1" u="none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hecklist</a:t>
                      </a:r>
                      <a:endParaRPr lang="en-US" sz="800" b="0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800" b="0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IT Prep (Checklist item) </a:t>
                      </a:r>
                      <a:b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</a:b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omplete and submit </a:t>
                      </a: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T Request form</a:t>
                      </a: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 </a:t>
                      </a:r>
                      <a:endParaRPr lang="en-US" sz="800" b="0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eview and Transfer Onboarding Plan &amp; Checklis</a:t>
                      </a: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t to New Hire </a:t>
                      </a:r>
                      <a:b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</a:br>
                      <a:endParaRPr lang="en-US" sz="800" b="0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5672288"/>
                  </a:ext>
                </a:extLst>
              </a:tr>
              <a:tr h="3879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</a:rPr>
                        <a:t>IT </a:t>
                      </a:r>
                      <a:r>
                        <a:rPr lang="en-US" sz="1200" b="0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</a:rPr>
                        <a:t>(</a:t>
                      </a:r>
                      <a:r>
                        <a:rPr lang="en-US" sz="1200" b="0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Eisner Amper)</a:t>
                      </a:r>
                      <a:endParaRPr lang="en-US" sz="1200" b="0" dirty="0">
                        <a:solidFill>
                          <a:schemeClr val="accent1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L="0"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Prepares equipment and systems access for new hire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4328304"/>
                  </a:ext>
                </a:extLst>
              </a:tr>
              <a:tr h="880405"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Full Time Employee</a:t>
                      </a:r>
                    </a:p>
                  </a:txBody>
                  <a:tcPr marL="0"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US" sz="800" b="0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800" b="1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Receives emails:</a:t>
                      </a: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First Contact: Custom </a:t>
                      </a:r>
                      <a:r>
                        <a:rPr lang="en-US" sz="800" b="1" u="sng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Welcome email from Clive and schedule call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Second Contact:</a:t>
                      </a:r>
                      <a:r>
                        <a:rPr lang="en-US" sz="800" b="0" u="none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 </a:t>
                      </a:r>
                      <a:r>
                        <a:rPr lang="en-US" sz="800" b="1" u="sng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Welcome Onboarding email from HS w/ IT instructions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Third Contact: iSolved account creation email </a:t>
                      </a:r>
                    </a:p>
                    <a:p>
                      <a:pPr marL="171450" lvl="0" indent="-171450"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are Package – TBD</a:t>
                      </a: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80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</a:rPr>
                        <a:t>Review and work on Onboarding Plan &amp; Checklist</a:t>
                      </a:r>
                      <a:endParaRPr lang="en-US" sz="800" b="1" dirty="0">
                        <a:solidFill>
                          <a:schemeClr val="tx2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omplete role required training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Access to training systems: IT Security, Compliance Wire, etc</a:t>
                      </a: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1307220"/>
                  </a:ext>
                </a:extLst>
              </a:tr>
              <a:tr h="4776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onsultant / Advisor</a:t>
                      </a:r>
                    </a:p>
                  </a:txBody>
                  <a:tcPr marL="0"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EB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E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Receives (automated) emails:</a:t>
                      </a:r>
                      <a:r>
                        <a:rPr lang="en-US" sz="800" b="1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Custom </a:t>
                      </a:r>
                      <a:r>
                        <a:rPr lang="en-US" sz="800" b="1" u="sng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Welcome email from Clive</a:t>
                      </a: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EB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800" b="1" dirty="0">
                          <a:solidFill>
                            <a:schemeClr val="tx2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Upload to SharePoint:</a:t>
                      </a:r>
                      <a:endParaRPr lang="en-US" sz="800" b="1" dirty="0">
                        <a:solidFill>
                          <a:schemeClr val="accent5"/>
                        </a:solidFill>
                        <a:latin typeface="Candara" panose="020E0502030303020204" pitchFamily="34" charset="0"/>
                        <a:ea typeface="Verdana" panose="020B0604030504040204" pitchFamily="34" charset="0"/>
                        <a:hlinkClick r:id="rId5">
                          <a:extLst>
                            <a:ext uri="{A12FA001-AC4F-418D-AE19-62706E023703}">
                              <ahyp:hlinkClr xmlns:ahyp="http://schemas.microsoft.com/office/drawing/2018/hyperlinkcolor" val="tx"/>
                            </a:ext>
                          </a:extLst>
                        </a:hlinkClick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u="sng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bout Me/Professional</a:t>
                      </a:r>
                      <a:r>
                        <a:rPr lang="en-US" sz="800" b="1" u="sng" dirty="0">
                          <a:solidFill>
                            <a:schemeClr val="accent5"/>
                          </a:solidFill>
                          <a:latin typeface="Candara" panose="020E0502030303020204" pitchFamily="34" charset="0"/>
                          <a:ea typeface="Verdana" panose="020B0604030504040204" pitchFamily="34" charset="0"/>
                        </a:rPr>
                        <a:t> Bio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tx2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B="9144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4829868"/>
                  </a:ext>
                </a:extLst>
              </a:tr>
            </a:tbl>
          </a:graphicData>
        </a:graphic>
      </p:graphicFrame>
      <p:graphicFrame>
        <p:nvGraphicFramePr>
          <p:cNvPr id="7" name="Content Placeholder 5">
            <a:extLst>
              <a:ext uri="{FF2B5EF4-FFF2-40B4-BE49-F238E27FC236}">
                <a16:creationId xmlns:a16="http://schemas.microsoft.com/office/drawing/2014/main" id="{7A7D38A4-0E84-2AFE-179E-C29A6E57E0FC}"/>
              </a:ext>
            </a:extLst>
          </p:cNvPr>
          <p:cNvGraphicFramePr>
            <a:graphicFrameLocks/>
          </p:cNvGraphicFramePr>
          <p:nvPr/>
        </p:nvGraphicFramePr>
        <p:xfrm>
          <a:off x="1897035" y="1383890"/>
          <a:ext cx="9921235" cy="453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41050407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1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4&quot;&gt;&lt;elem m_fUsage=&quot;1.81000000000000005329E+00&quot;&gt;&lt;m_msothmcolidx val=&quot;0&quot;/&gt;&lt;m_rgb r=&quot;DE&quot; g=&quot;5A&quot; b=&quot;00&quot;/&gt;&lt;/elem&gt;&lt;elem m_fUsage=&quot;9.00000000000000022204E-01&quot;&gt;&lt;m_msothmcolidx val=&quot;0&quot;/&gt;&lt;m_rgb r=&quot;3F&quot; g=&quot;4B&quot; b=&quot;3F&quot;/&gt;&lt;/elem&gt;&lt;elem m_fUsage=&quot;7.29000000000000092371E-01&quot;&gt;&lt;m_msothmcolidx val=&quot;0&quot;/&gt;&lt;m_rgb r=&quot;40&quot; g=&quot;53&quot; b=&quot;8C&quot;/&gt;&lt;/elem&gt;&lt;elem m_fUsage=&quot;6.56100000000000127542E-01&quot;&gt;&lt;m_msothmcolidx val=&quot;0&quot;/&gt;&lt;m_rgb r=&quot;DF&quot; g=&quot;2D&quot; b=&quot;1F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8baaqDMg62n9TL9FoX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4U_.AjqLwADg46TpJW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in Theme_Confidential">
  <a:themeElements>
    <a:clrScheme name="Metsera">
      <a:dk1>
        <a:srgbClr val="002017"/>
      </a:dk1>
      <a:lt1>
        <a:srgbClr val="FFFFFF"/>
      </a:lt1>
      <a:dk2>
        <a:srgbClr val="3F4041"/>
      </a:dk2>
      <a:lt2>
        <a:srgbClr val="737477"/>
      </a:lt2>
      <a:accent1>
        <a:srgbClr val="003B2A"/>
      </a:accent1>
      <a:accent2>
        <a:srgbClr val="008351"/>
      </a:accent2>
      <a:accent3>
        <a:srgbClr val="61BA49"/>
      </a:accent3>
      <a:accent4>
        <a:srgbClr val="A2E895"/>
      </a:accent4>
      <a:accent5>
        <a:srgbClr val="FF5900"/>
      </a:accent5>
      <a:accent6>
        <a:srgbClr val="F1A33C"/>
      </a:accent6>
      <a:hlink>
        <a:srgbClr val="007FFF"/>
      </a:hlink>
      <a:folHlink>
        <a:srgbClr val="003754"/>
      </a:folHlink>
    </a:clrScheme>
    <a:fontScheme name="Candara">
      <a:majorFont>
        <a:latin typeface="Candara" panose="020E0502030303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ndara" panose="020E0502030303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Fractyl-Template-PPT-022421-v02" id="{E1DBE059-9423-224C-8F00-A4906CB9904C}" vid="{29C16914-1C7F-5242-A9B8-AD4E119F605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e1d24c5-b878-439b-8570-a7c8ba6bb6e0" xsi:nil="true"/>
    <lcf76f155ced4ddcb4097134ff3c332f xmlns="d8c535c6-63a4-4339-b449-26eeb0d3d3cb">
      <Terms xmlns="http://schemas.microsoft.com/office/infopath/2007/PartnerControls"/>
    </lcf76f155ced4ddcb4097134ff3c332f>
    <Reason xmlns="d8c535c6-63a4-4339-b449-26eeb0d3d3cb" xsi:nil="true"/>
    <Note xmlns="d8c535c6-63a4-4339-b449-26eeb0d3d3cb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3B5AC5FBBB2C4DB9BE0ED4E2D9D977" ma:contentTypeVersion="16" ma:contentTypeDescription="Create a new document." ma:contentTypeScope="" ma:versionID="96c1099b2a8cc80e3a2a2c9d494c4ea7">
  <xsd:schema xmlns:xsd="http://www.w3.org/2001/XMLSchema" xmlns:xs="http://www.w3.org/2001/XMLSchema" xmlns:p="http://schemas.microsoft.com/office/2006/metadata/properties" xmlns:ns2="d8c535c6-63a4-4339-b449-26eeb0d3d3cb" xmlns:ns3="ce1d24c5-b878-439b-8570-a7c8ba6bb6e0" targetNamespace="http://schemas.microsoft.com/office/2006/metadata/properties" ma:root="true" ma:fieldsID="573075f82de53820268ad61c3f17a697" ns2:_="" ns3:_="">
    <xsd:import namespace="d8c535c6-63a4-4339-b449-26eeb0d3d3cb"/>
    <xsd:import namespace="ce1d24c5-b878-439b-8570-a7c8ba6bb6e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Reason" minOccurs="0"/>
                <xsd:element ref="ns2:MediaLengthInSeconds" minOccurs="0"/>
                <xsd:element ref="ns2:No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c535c6-63a4-4339-b449-26eeb0d3d3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e88fe80d-a298-4146-b3b6-c61f938191a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Reason" ma:index="21" nillable="true" ma:displayName="Reason" ma:description="Final Review prior to going LIVE" ma:format="Dropdown" ma:internalName="Reason">
      <xsd:simpleType>
        <xsd:restriction base="dms:Text">
          <xsd:maxLength value="255"/>
        </xsd:restriction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Note" ma:index="23" nillable="true" ma:displayName="Note" ma:format="Dropdown" ma:internalName="Not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1d24c5-b878-439b-8570-a7c8ba6bb6e0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52ac7264-13b3-4ad4-bce5-4d183213b293}" ma:internalName="TaxCatchAll" ma:showField="CatchAllData" ma:web="ce1d24c5-b878-439b-8570-a7c8ba6bb6e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F2F879D-8863-4808-8589-430CC253668D}">
  <ds:schemaRefs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www.w3.org/XML/1998/namespace"/>
    <ds:schemaRef ds:uri="ce1d24c5-b878-439b-8570-a7c8ba6bb6e0"/>
    <ds:schemaRef ds:uri="d8c535c6-63a4-4339-b449-26eeb0d3d3cb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A2DDB0E-6D6C-4AC5-A6C4-8653D2AFE32C}"/>
</file>

<file path=customXml/itemProps3.xml><?xml version="1.0" encoding="utf-8"?>
<ds:datastoreItem xmlns:ds="http://schemas.openxmlformats.org/officeDocument/2006/customXml" ds:itemID="{9CB7CE25-0E07-4002-A83F-50F8BEC7EBB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3</TotalTime>
  <Words>1361</Words>
  <Application>Microsoft Office PowerPoint</Application>
  <PresentationFormat>Widescreen</PresentationFormat>
  <Paragraphs>234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Calibri</vt:lpstr>
      <vt:lpstr>Candara</vt:lpstr>
      <vt:lpstr>Franklin Gothic Heavy</vt:lpstr>
      <vt:lpstr>Gill Sans</vt:lpstr>
      <vt:lpstr>Tahoma</vt:lpstr>
      <vt:lpstr>Verdana</vt:lpstr>
      <vt:lpstr>Main Theme_Confidential</vt:lpstr>
      <vt:lpstr>think-cell Slide</vt:lpstr>
      <vt:lpstr>Onboarding </vt:lpstr>
      <vt:lpstr>ONBOARDING WORKFLOW- FTE</vt:lpstr>
      <vt:lpstr>ONBOARDING WORKFLOW- FTE</vt:lpstr>
      <vt:lpstr>ONBOARDING WORKFLOW- FTE</vt:lpstr>
      <vt:lpstr>ONBOARDING WORKFLOW- FTE</vt:lpstr>
      <vt:lpstr>ONBOARDING WORKFLOW- F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daytona</dc:title>
  <dc:creator>Eshan Vasudeva</dc:creator>
  <cp:lastModifiedBy>Venice Luceriaga</cp:lastModifiedBy>
  <cp:revision>3</cp:revision>
  <cp:lastPrinted>2022-12-22T18:37:53Z</cp:lastPrinted>
  <dcterms:created xsi:type="dcterms:W3CDTF">2022-10-11T20:38:03Z</dcterms:created>
  <dcterms:modified xsi:type="dcterms:W3CDTF">2023-09-25T12:57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3B5AC5FBBB2C4DB9BE0ED4E2D9D977</vt:lpwstr>
  </property>
  <property fmtid="{D5CDD505-2E9C-101B-9397-08002B2CF9AE}" pid="3" name="MediaServiceImageTags">
    <vt:lpwstr/>
  </property>
</Properties>
</file>